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8.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5.xml" ContentType="application/vnd.openxmlformats-officedocument.themeOverride+xml"/>
  <Override PartName="/ppt/notesSlides/notesSlide14.xml" ContentType="application/vnd.openxmlformats-officedocument.presentationml.notesSlide+xml"/>
  <Override PartName="/ppt/theme/themeOverride6.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7.xml" ContentType="application/vnd.openxmlformats-officedocument.themeOverride+xml"/>
  <Override PartName="/ppt/notesSlides/notesSlide17.xml" ContentType="application/vnd.openxmlformats-officedocument.presentationml.notesSlide+xml"/>
  <Override PartName="/ppt/theme/themeOverride8.xml" ContentType="application/vnd.openxmlformats-officedocument.themeOverr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69" r:id="rId5"/>
    <p:sldMasterId id="2147483797" r:id="rId6"/>
    <p:sldMasterId id="2147483836" r:id="rId7"/>
  </p:sldMasterIdLst>
  <p:notesMasterIdLst>
    <p:notesMasterId r:id="rId36"/>
  </p:notesMasterIdLst>
  <p:sldIdLst>
    <p:sldId id="259" r:id="rId8"/>
    <p:sldId id="260" r:id="rId9"/>
    <p:sldId id="277" r:id="rId10"/>
    <p:sldId id="273" r:id="rId11"/>
    <p:sldId id="261" r:id="rId12"/>
    <p:sldId id="262" r:id="rId13"/>
    <p:sldId id="256" r:id="rId14"/>
    <p:sldId id="279" r:id="rId15"/>
    <p:sldId id="265" r:id="rId16"/>
    <p:sldId id="270" r:id="rId17"/>
    <p:sldId id="295" r:id="rId18"/>
    <p:sldId id="294" r:id="rId19"/>
    <p:sldId id="284" r:id="rId20"/>
    <p:sldId id="282" r:id="rId21"/>
    <p:sldId id="286" r:id="rId22"/>
    <p:sldId id="271" r:id="rId23"/>
    <p:sldId id="269" r:id="rId24"/>
    <p:sldId id="296" r:id="rId25"/>
    <p:sldId id="297" r:id="rId26"/>
    <p:sldId id="298" r:id="rId27"/>
    <p:sldId id="287" r:id="rId28"/>
    <p:sldId id="289" r:id="rId29"/>
    <p:sldId id="272" r:id="rId30"/>
    <p:sldId id="288" r:id="rId31"/>
    <p:sldId id="281" r:id="rId32"/>
    <p:sldId id="290" r:id="rId33"/>
    <p:sldId id="274" r:id="rId34"/>
    <p:sldId id="28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277"/>
            <p14:sldId id="273"/>
            <p14:sldId id="261"/>
            <p14:sldId id="262"/>
            <p14:sldId id="256"/>
            <p14:sldId id="279"/>
            <p14:sldId id="265"/>
          </p14:sldIdLst>
        </p14:section>
        <p14:section name="Blinky and the Cloud" id="{2A3CD559-4A27-43A2-B0C3-01780B89F4E7}">
          <p14:sldIdLst>
            <p14:sldId id="270"/>
            <p14:sldId id="295"/>
            <p14:sldId id="294"/>
            <p14:sldId id="284"/>
            <p14:sldId id="282"/>
            <p14:sldId id="286"/>
          </p14:sldIdLst>
        </p14:section>
        <p14:section name="Azure Stream Analytics" id="{94A972B3-DE4F-4C7D-A1DD-8C50BB527963}">
          <p14:sldIdLst>
            <p14:sldId id="271"/>
            <p14:sldId id="269"/>
            <p14:sldId id="296"/>
            <p14:sldId id="297"/>
            <p14:sldId id="298"/>
            <p14:sldId id="287"/>
            <p14:sldId id="289"/>
          </p14:sldIdLst>
        </p14:section>
        <p14:section name="Storm on Azure" id="{3AAB0DC0-C895-4D25-A8DD-EB08AF087343}">
          <p14:sldIdLst>
            <p14:sldId id="272"/>
            <p14:sldId id="288"/>
            <p14:sldId id="281"/>
            <p14:sldId id="290"/>
          </p14:sldIdLst>
        </p14:section>
        <p14:section name="Whats Next and logistics" id="{0BDFA633-B9E0-4AA1-80AF-D7BF594B8DEF}">
          <p14:sldIdLst>
            <p14:sldId id="274"/>
            <p14:sldId id="28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C00"/>
    <a:srgbClr val="7FBA00"/>
    <a:srgbClr val="00BCF2"/>
    <a:srgbClr val="442157"/>
    <a:srgbClr val="4E195C"/>
    <a:srgbClr val="68217A"/>
    <a:srgbClr val="34103D"/>
    <a:srgbClr val="B957D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1357" autoAdjust="0"/>
  </p:normalViewPr>
  <p:slideViewPr>
    <p:cSldViewPr snapToGrid="0">
      <p:cViewPr varScale="1">
        <p:scale>
          <a:sx n="89" d="100"/>
          <a:sy n="89" d="100"/>
        </p:scale>
        <p:origin x="31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18/09/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980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148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14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09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864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56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59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857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Master" Target="../slideMasters/slideMaster6.xml"/><Relationship Id="rId4" Type="http://schemas.openxmlformats.org/officeDocument/2006/relationships/image" Target="../media/image36.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6.xml"/><Relationship Id="rId5" Type="http://schemas.openxmlformats.org/officeDocument/2006/relationships/image" Target="../media/image40.jpg"/><Relationship Id="rId4" Type="http://schemas.openxmlformats.org/officeDocument/2006/relationships/image" Target="../media/image39.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6.xml"/><Relationship Id="rId4" Type="http://schemas.openxmlformats.org/officeDocument/2006/relationships/image" Target="../media/image41.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25667869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Tree>
    <p:extLst>
      <p:ext uri="{BB962C8B-B14F-4D97-AF65-F5344CB8AC3E}">
        <p14:creationId xmlns:p14="http://schemas.microsoft.com/office/powerpoint/2010/main" val="358824261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2660486757"/>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GB" smtClean="0"/>
              <a:t>Microsoft Confidential</a:t>
            </a:r>
            <a:endParaRPr lang="en-GB"/>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lang="en-GB" smtClean="0"/>
              <a:pPr>
                <a:defRPr/>
              </a:pPr>
              <a:t>‹#›</a:t>
            </a:fld>
            <a:endParaRPr lang="en-GB"/>
          </a:p>
        </p:txBody>
      </p:sp>
    </p:spTree>
    <p:extLst>
      <p:ext uri="{BB962C8B-B14F-4D97-AF65-F5344CB8AC3E}">
        <p14:creationId xmlns:p14="http://schemas.microsoft.com/office/powerpoint/2010/main" val="3855036074"/>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GB" smtClean="0"/>
              <a:t>Microsoft Confidential</a:t>
            </a:r>
            <a:endParaRPr lang="en-GB"/>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lang="en-GB" smtClean="0"/>
              <a:pPr>
                <a:defRPr/>
              </a:pPr>
              <a:t>‹#›</a:t>
            </a:fld>
            <a:endParaRPr lang="en-GB" dirty="0"/>
          </a:p>
        </p:txBody>
      </p:sp>
    </p:spTree>
    <p:extLst>
      <p:ext uri="{BB962C8B-B14F-4D97-AF65-F5344CB8AC3E}">
        <p14:creationId xmlns:p14="http://schemas.microsoft.com/office/powerpoint/2010/main" val="118629349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GB" smtClean="0"/>
              <a:t>Microsoft Confidential</a:t>
            </a:r>
            <a:endParaRPr lang="en-GB"/>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lang="en-GB" smtClean="0"/>
              <a:pPr>
                <a:defRPr/>
              </a:pPr>
              <a:t>‹#›</a:t>
            </a:fld>
            <a:endParaRPr lang="en-GB" dirty="0"/>
          </a:p>
        </p:txBody>
      </p:sp>
    </p:spTree>
    <p:extLst>
      <p:ext uri="{BB962C8B-B14F-4D97-AF65-F5344CB8AC3E}">
        <p14:creationId xmlns:p14="http://schemas.microsoft.com/office/powerpoint/2010/main" val="113574859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0695350"/>
      </p:ext>
    </p:extLst>
  </p:cSld>
  <p:clrMapOvr>
    <a:masterClrMapping/>
  </p:clrMapOvr>
  <p:transition spd="med">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7300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7981851" y="1682291"/>
            <a:ext cx="3611880" cy="507711"/>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28393" y="1680185"/>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47792" y="235323"/>
            <a:ext cx="8906462" cy="899146"/>
          </a:xfrm>
          <a:prstGeom prst="rect">
            <a:avLst/>
          </a:prstGeom>
        </p:spPr>
        <p:txBody>
          <a:bodyPr wrap="square" lIns="91440" rIns="0">
            <a:spAutoFit/>
          </a:bodyPr>
          <a:lstStyle>
            <a:lvl1pPr marL="0" indent="0">
              <a:spcBef>
                <a:spcPts val="0"/>
              </a:spcBef>
              <a:spcAft>
                <a:spcPts val="663"/>
              </a:spcAft>
              <a:buNone/>
              <a:defRPr lang="en-US" sz="4400" kern="1200" baseline="0" dirty="0" smtClean="0">
                <a:solidFill>
                  <a:schemeClr val="bg1"/>
                </a:solidFill>
                <a:latin typeface="+mj-lt"/>
                <a:ea typeface="+mn-ea"/>
                <a:cs typeface="+mn-cs"/>
              </a:defRPr>
            </a:lvl1pPr>
            <a:lvl2pPr marL="0" indent="0">
              <a:spcBef>
                <a:spcPts val="0"/>
              </a:spcBef>
              <a:spcAft>
                <a:spcPts val="295"/>
              </a:spcAft>
              <a:buNone/>
              <a:defRPr sz="1800" spc="-49" baseline="0"/>
            </a:lvl2pPr>
            <a:lvl3pPr marL="0" indent="0">
              <a:spcBef>
                <a:spcPts val="0"/>
              </a:spcBef>
              <a:spcAft>
                <a:spcPts val="295"/>
              </a:spcAft>
              <a:buNone/>
              <a:defRPr sz="1500"/>
            </a:lvl3pPr>
            <a:lvl4pPr marL="0" indent="0">
              <a:spcBef>
                <a:spcPts val="0"/>
              </a:spcBef>
              <a:spcAft>
                <a:spcPts val="295"/>
              </a:spcAft>
              <a:buNone/>
              <a:defRPr/>
            </a:lvl4pPr>
            <a:lvl5pPr marL="0" indent="0">
              <a:spcBef>
                <a:spcPts val="0"/>
              </a:spcBef>
              <a:spcAft>
                <a:spcPts val="295"/>
              </a:spcAft>
              <a:buNone/>
              <a:defRPr/>
            </a:lvl5pPr>
          </a:lstStyle>
          <a:p>
            <a:pPr lvl="0"/>
            <a:r>
              <a:rPr lang="en-US" dirty="0" err="1" smtClean="0"/>
              <a:t>IoT</a:t>
            </a:r>
            <a:endParaRPr lang="en-US" dirty="0" smtClean="0"/>
          </a:p>
        </p:txBody>
      </p:sp>
      <p:sp>
        <p:nvSpPr>
          <p:cNvPr id="13" name="Rectangle 12"/>
          <p:cNvSpPr/>
          <p:nvPr userDrawn="1"/>
        </p:nvSpPr>
        <p:spPr bwMode="auto">
          <a:xfrm>
            <a:off x="528395" y="1173567"/>
            <a:ext cx="11054007" cy="396432"/>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29391" y="2286522"/>
            <a:ext cx="3611880" cy="2477102"/>
          </a:xfrm>
          <a:prstGeom prst="rect">
            <a:avLst/>
          </a:prstGeom>
          <a:solidFill>
            <a:schemeClr val="accent2"/>
          </a:solidFill>
          <a:ln>
            <a:noFill/>
          </a:ln>
        </p:spPr>
        <p:txBody>
          <a:bodyPr lIns="129069" tIns="129069" rIns="129069" bIns="129069">
            <a:noAutofit/>
          </a:bodyPr>
          <a:lstStyle>
            <a:lvl1pPr marL="0" indent="0" algn="l">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1" name="Content Placeholder 2"/>
          <p:cNvSpPr>
            <a:spLocks noGrp="1"/>
          </p:cNvSpPr>
          <p:nvPr>
            <p:ph idx="12"/>
          </p:nvPr>
        </p:nvSpPr>
        <p:spPr>
          <a:xfrm>
            <a:off x="4258287" y="2286522"/>
            <a:ext cx="3611880" cy="2477102"/>
          </a:xfrm>
          <a:prstGeom prst="rect">
            <a:avLst/>
          </a:prstGeom>
          <a:solidFill>
            <a:schemeClr val="accent4"/>
          </a:solidFill>
          <a:ln>
            <a:noFill/>
          </a:ln>
        </p:spPr>
        <p:txBody>
          <a:bodyPr lIns="129069" tIns="129069" rIns="129069" bIns="129069">
            <a:noAutofit/>
          </a:bodyPr>
          <a:lstStyle>
            <a:lvl1pPr marL="0" indent="0">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4" name="Content Placeholder 2"/>
          <p:cNvSpPr>
            <a:spLocks noGrp="1"/>
          </p:cNvSpPr>
          <p:nvPr>
            <p:ph idx="13"/>
          </p:nvPr>
        </p:nvSpPr>
        <p:spPr>
          <a:xfrm>
            <a:off x="7981851" y="2286522"/>
            <a:ext cx="3611880" cy="2477102"/>
          </a:xfrm>
          <a:prstGeom prst="rect">
            <a:avLst/>
          </a:prstGeom>
          <a:solidFill>
            <a:schemeClr val="accent3"/>
          </a:solidFill>
          <a:ln>
            <a:noFill/>
          </a:ln>
        </p:spPr>
        <p:txBody>
          <a:bodyPr lIns="129069" tIns="129069" rIns="129069" bIns="129069">
            <a:noAutofit/>
          </a:bodyPr>
          <a:lstStyle>
            <a:lvl1pPr marL="205794" indent="-205794">
              <a:lnSpc>
                <a:spcPct val="90000"/>
              </a:lnSpc>
              <a:spcBef>
                <a:spcPts val="529"/>
              </a:spcBef>
              <a:buFont typeface="Arial" panose="020B0604020202020204" pitchFamily="34" charset="0"/>
              <a:buChar char="•"/>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19" name="Picture Placeholder 2"/>
          <p:cNvSpPr>
            <a:spLocks noGrp="1"/>
          </p:cNvSpPr>
          <p:nvPr>
            <p:ph type="pic" sz="quarter" idx="19" hasCustomPrompt="1"/>
          </p:nvPr>
        </p:nvSpPr>
        <p:spPr>
          <a:xfrm>
            <a:off x="528394" y="1072285"/>
            <a:ext cx="2097988" cy="243143"/>
          </a:xfrm>
          <a:prstGeom prst="rect">
            <a:avLst/>
          </a:prstGeom>
        </p:spPr>
        <p:txBody>
          <a:bodyPr/>
          <a:lstStyle>
            <a:lvl1pPr marL="0" marR="0" indent="0" algn="l" defTabSz="673378" rtl="0" eaLnBrk="1" fontAlgn="base" latinLnBrk="0" hangingPunct="1">
              <a:lnSpc>
                <a:spcPct val="90000"/>
              </a:lnSpc>
              <a:spcBef>
                <a:spcPct val="20000"/>
              </a:spcBef>
              <a:spcAft>
                <a:spcPct val="0"/>
              </a:spcAft>
              <a:buClrTx/>
              <a:buSzPct val="90000"/>
              <a:buFont typeface="Arial" charset="0"/>
              <a:buNone/>
              <a:tabLst/>
              <a:defRPr sz="700">
                <a:solidFill>
                  <a:schemeClr val="bg1"/>
                </a:solidFill>
              </a:defRPr>
            </a:lvl1pPr>
          </a:lstStyle>
          <a:p>
            <a:pPr algn="l"/>
            <a:r>
              <a:rPr lang="en-US" sz="900" u="none" dirty="0" smtClean="0"/>
              <a:t>[Delet</a:t>
            </a:r>
            <a:r>
              <a:rPr lang="en-US" sz="900" u="none" baseline="0" dirty="0" smtClean="0"/>
              <a:t>e &amp; </a:t>
            </a:r>
            <a:r>
              <a:rPr lang="en-US" sz="900" u="none" dirty="0" smtClean="0"/>
              <a:t>Place corporate</a:t>
            </a:r>
            <a:r>
              <a:rPr lang="en-US" sz="900" u="none" baseline="0" dirty="0" smtClean="0"/>
              <a:t> logo here]</a:t>
            </a:r>
            <a:endParaRPr lang="en-US" sz="900" u="none" dirty="0" smtClean="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6965" y="271273"/>
            <a:ext cx="1211337" cy="259418"/>
          </a:xfrm>
          <a:prstGeom prst="rect">
            <a:avLst/>
          </a:prstGeom>
        </p:spPr>
      </p:pic>
      <p:sp>
        <p:nvSpPr>
          <p:cNvPr id="28" name="Rectangle 27"/>
          <p:cNvSpPr/>
          <p:nvPr userDrawn="1"/>
        </p:nvSpPr>
        <p:spPr>
          <a:xfrm>
            <a:off x="447791" y="6438480"/>
            <a:ext cx="1932948" cy="301196"/>
          </a:xfrm>
          <a:prstGeom prst="rect">
            <a:avLst/>
          </a:prstGeom>
        </p:spPr>
        <p:txBody>
          <a:bodyPr wrap="none" lIns="80646" tIns="40322" rIns="80646" bIns="40322">
            <a:spAutoFit/>
          </a:bodyPr>
          <a:lstStyle/>
          <a:p>
            <a:pPr marL="0" marR="0" lvl="0" indent="0" algn="l" defTabSz="67337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prstClr val="white"/>
                </a:solidFill>
                <a:effectLst/>
                <a:uLnTx/>
                <a:uFillTx/>
                <a:latin typeface="Segoe UI" charset="0"/>
                <a:cs typeface="Arial" charset="0"/>
              </a:rPr>
              <a:t>w</a:t>
            </a:r>
            <a:r>
              <a:rPr kumimoji="0" lang="en-US" sz="1400" b="0" i="0" u="none" strike="noStrike" kern="1200" cap="none" spc="44" normalizeH="0" baseline="30000" noProof="0" dirty="0">
                <a:ln>
                  <a:noFill/>
                </a:ln>
                <a:solidFill>
                  <a:prstClr val="white"/>
                </a:solidFill>
                <a:effectLst/>
                <a:uLnTx/>
                <a:uFillTx/>
                <a:latin typeface="Segoe UI" charset="0"/>
                <a:cs typeface="Arial" charset="0"/>
              </a:rPr>
              <a:t>ww.InternetofYourThings.co</a:t>
            </a:r>
            <a:r>
              <a:rPr kumimoji="0" lang="en-US" sz="1400" b="0" i="0" u="none" strike="noStrike" kern="1200" cap="none" spc="0" normalizeH="0" baseline="30000" noProof="0" dirty="0">
                <a:ln>
                  <a:noFill/>
                </a:ln>
                <a:solidFill>
                  <a:prstClr val="white"/>
                </a:solidFill>
                <a:effectLst/>
                <a:uLnTx/>
                <a:uFillTx/>
                <a:latin typeface="Segoe UI" charset="0"/>
                <a:cs typeface="Arial" charset="0"/>
              </a:rPr>
              <a:t>m</a:t>
            </a:r>
            <a:endParaRPr kumimoji="0" lang="en-US" sz="1400" b="0" i="0" u="none" strike="noStrike" kern="1200" cap="none" spc="0" normalizeH="0" baseline="0" noProof="0" dirty="0">
              <a:ln>
                <a:noFill/>
              </a:ln>
              <a:solidFill>
                <a:prstClr val="white"/>
              </a:solidFill>
              <a:effectLst/>
              <a:uLnTx/>
              <a:uFillTx/>
              <a:latin typeface="Arial" charset="0"/>
              <a:cs typeface="Arial" charset="0"/>
            </a:endParaRPr>
          </a:p>
        </p:txBody>
      </p:sp>
      <p:sp>
        <p:nvSpPr>
          <p:cNvPr id="15" name="Content Placeholder 16"/>
          <p:cNvSpPr>
            <a:spLocks noGrp="1"/>
          </p:cNvSpPr>
          <p:nvPr>
            <p:ph sz="quarter" idx="21" hasCustomPrompt="1"/>
          </p:nvPr>
        </p:nvSpPr>
        <p:spPr>
          <a:xfrm>
            <a:off x="4015084" y="1229886"/>
            <a:ext cx="7578649" cy="321180"/>
          </a:xfrm>
          <a:prstGeom prst="rect">
            <a:avLst/>
          </a:prstGeom>
        </p:spPr>
        <p:txBody>
          <a:bodyPr vert="horz" wrap="none" lIns="0" tIns="40334" rIns="91440" bIns="0" rtlCol="0" anchor="ctr" anchorCtr="0">
            <a:noAutofit/>
          </a:bodyPr>
          <a:lstStyle>
            <a:lvl1pPr marL="0" indent="0" algn="r">
              <a:buNone/>
              <a:defRPr lang="en-US" sz="1200" baseline="0" dirty="0" smtClean="0">
                <a:solidFill>
                  <a:srgbClr val="00188F"/>
                </a:solidFill>
              </a:defRPr>
            </a:lvl1pPr>
          </a:lstStyle>
          <a:p>
            <a:pPr lvl="0">
              <a:buFontTx/>
            </a:pPr>
            <a:r>
              <a:rPr lang="en-US" dirty="0" smtClean="0"/>
              <a:t>URL HERE</a:t>
            </a:r>
          </a:p>
        </p:txBody>
      </p:sp>
      <p:sp>
        <p:nvSpPr>
          <p:cNvPr id="3" name="Text Placeholder 2"/>
          <p:cNvSpPr>
            <a:spLocks noGrp="1"/>
          </p:cNvSpPr>
          <p:nvPr>
            <p:ph type="body" sz="quarter" idx="22" hasCustomPrompt="1"/>
          </p:nvPr>
        </p:nvSpPr>
        <p:spPr>
          <a:xfrm>
            <a:off x="5435819" y="859538"/>
            <a:ext cx="6157912" cy="577979"/>
          </a:xfrm>
        </p:spPr>
        <p:txBody>
          <a:bodyPr wrap="square">
            <a:spAutoFit/>
          </a:bodyPr>
          <a:lstStyle>
            <a:lvl1pPr marL="0" marR="0" indent="-254792" algn="r" defTabSz="673378" rtl="0" eaLnBrk="1" fontAlgn="base" latinLnBrk="0" hangingPunct="1">
              <a:lnSpc>
                <a:spcPct val="90000"/>
              </a:lnSpc>
              <a:spcBef>
                <a:spcPct val="20000"/>
              </a:spcBef>
              <a:spcAft>
                <a:spcPct val="0"/>
              </a:spcAft>
              <a:buClrTx/>
              <a:buSzPct val="90000"/>
              <a:buFont typeface="Arial" charset="0"/>
              <a:buNone/>
              <a:tabLst/>
              <a:defRPr lang="en-US" sz="2000" kern="1200" dirty="0" smtClean="0">
                <a:solidFill>
                  <a:prstClr val="white"/>
                </a:solidFill>
                <a:latin typeface="+mn-lt"/>
                <a:ea typeface="+mn-ea"/>
                <a:cs typeface="Arial" charset="0"/>
              </a:defRPr>
            </a:lvl1pPr>
          </a:lstStyle>
          <a:p>
            <a:pPr marL="0" marR="0" lvl="0" indent="-254792" algn="r" defTabSz="673378" rtl="0" eaLnBrk="1" fontAlgn="base" latinLnBrk="0" hangingPunct="1">
              <a:lnSpc>
                <a:spcPct val="90000"/>
              </a:lnSpc>
              <a:spcBef>
                <a:spcPct val="20000"/>
              </a:spcBef>
              <a:spcAft>
                <a:spcPct val="0"/>
              </a:spcAft>
              <a:buClrTx/>
              <a:buSzPct val="90000"/>
              <a:buFont typeface="Arial" charset="0"/>
              <a:buNone/>
              <a:tabLst/>
              <a:defRPr/>
            </a:pPr>
            <a:r>
              <a:rPr lang="en-US" sz="2000" dirty="0" smtClean="0">
                <a:solidFill>
                  <a:prstClr val="white"/>
                </a:solidFill>
                <a:latin typeface="Segoe UI Light" pitchFamily="34" charset="0"/>
                <a:cs typeface="Arial" charset="0"/>
              </a:rPr>
              <a:t>Intelligent Systems in Action  Vertical</a:t>
            </a:r>
            <a:endParaRPr lang="en-US" sz="2000" dirty="0" smtClean="0">
              <a:solidFill>
                <a:prstClr val="white"/>
              </a:solidFill>
              <a:cs typeface="Arial" charset="0"/>
            </a:endParaRPr>
          </a:p>
        </p:txBody>
      </p:sp>
      <p:sp>
        <p:nvSpPr>
          <p:cNvPr id="18" name="Rectangle 17"/>
          <p:cNvSpPr/>
          <p:nvPr userDrawn="1"/>
        </p:nvSpPr>
        <p:spPr bwMode="auto">
          <a:xfrm>
            <a:off x="-544141" y="4442909"/>
            <a:ext cx="109728" cy="10596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userDrawn="1"/>
        </p:nvSpPr>
        <p:spPr bwMode="auto">
          <a:xfrm>
            <a:off x="528393" y="1682289"/>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258287" y="1682289"/>
            <a:ext cx="3611880" cy="501463"/>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18782" y="18313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5" name="Text Placeholder 14"/>
          <p:cNvSpPr>
            <a:spLocks noGrp="1"/>
          </p:cNvSpPr>
          <p:nvPr>
            <p:ph type="body" sz="quarter" idx="24" hasCustomPrompt="1"/>
          </p:nvPr>
        </p:nvSpPr>
        <p:spPr>
          <a:xfrm>
            <a:off x="4339664" y="18280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7" name="Text Placeholder 14"/>
          <p:cNvSpPr>
            <a:spLocks noGrp="1"/>
          </p:cNvSpPr>
          <p:nvPr>
            <p:ph type="body" sz="quarter" idx="25" hasCustomPrompt="1"/>
          </p:nvPr>
        </p:nvSpPr>
        <p:spPr>
          <a:xfrm>
            <a:off x="8076444" y="1831387"/>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Tree>
    <p:extLst>
      <p:ext uri="{BB962C8B-B14F-4D97-AF65-F5344CB8AC3E}">
        <p14:creationId xmlns:p14="http://schemas.microsoft.com/office/powerpoint/2010/main" val="203867034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629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Custom Layout">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auto">
          <a:xfrm>
            <a:off x="2" y="1"/>
            <a:ext cx="12192000" cy="6858000"/>
          </a:xfrm>
          <a:prstGeom prst="rect">
            <a:avLst/>
          </a:prstGeom>
          <a:solidFill>
            <a:schemeClr val="tx1">
              <a:alpha val="76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7" tIns="45719" rIns="91437" bIns="45719" numCol="1" rtlCol="0" anchor="ctr" anchorCtr="0" compatLnSpc="1">
            <a:prstTxWarp prst="textNoShape">
              <a:avLst/>
            </a:prstTxWarp>
          </a:bodyPr>
          <a:lstStyle/>
          <a:p>
            <a:pPr marL="0" marR="0" lvl="0" indent="0" algn="ctr" defTabSz="914058" rtl="0" eaLnBrk="1" fontAlgn="base" latinLnBrk="0" hangingPunct="1">
              <a:lnSpc>
                <a:spcPct val="100000"/>
              </a:lnSpc>
              <a:spcBef>
                <a:spcPct val="0"/>
              </a:spcBef>
              <a:spcAft>
                <a:spcPct val="0"/>
              </a:spcAft>
              <a:buClrTx/>
              <a:buSzTx/>
              <a:buFontTx/>
              <a:buNone/>
              <a:tabLst/>
              <a:defRPr/>
            </a:pPr>
            <a:endParaRPr kumimoji="0" lang="en-US" sz="2416" b="0" i="0" u="none" strike="noStrike" kern="1200" cap="none" spc="0" normalizeH="0" baseline="0" noProof="0" dirty="0" smtClean="0">
              <a:ln>
                <a:noFill/>
              </a:ln>
              <a:gradFill>
                <a:gsLst>
                  <a:gs pos="0">
                    <a:srgbClr val="000000"/>
                  </a:gs>
                  <a:gs pos="100000">
                    <a:srgbClr val="000000"/>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217392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50pt Title/30pt Sub/White 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rgbClr val="002050"/>
                </a:solidFill>
              </a:defRPr>
            </a:lvl1pPr>
          </a:lstStyle>
          <a:p>
            <a:r>
              <a:rPr lang="en-GB" smtClean="0"/>
              <a:t>Microsoft Confidential</a:t>
            </a:r>
            <a:endParaRPr lang="en-GB"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lang="en-GB" smtClean="0"/>
              <a:pPr/>
              <a:t>‹#›</a:t>
            </a:fld>
            <a:endParaRPr lang="en-GB" dirty="0"/>
          </a:p>
        </p:txBody>
      </p:sp>
      <p:sp>
        <p:nvSpPr>
          <p:cNvPr id="6" name="Text Placeholder 8"/>
          <p:cNvSpPr>
            <a:spLocks noGrp="1"/>
          </p:cNvSpPr>
          <p:nvPr>
            <p:ph type="body" sz="quarter" idx="12"/>
          </p:nvPr>
        </p:nvSpPr>
        <p:spPr>
          <a:xfrm>
            <a:off x="269240" y="291069"/>
            <a:ext cx="10757098" cy="888769"/>
          </a:xfrm>
          <a:prstGeom prst="rect">
            <a:avLst/>
          </a:prstGeom>
          <a:noFill/>
        </p:spPr>
        <p:txBody>
          <a:bodyPr/>
          <a:lstStyle>
            <a:lvl1pPr marL="0" indent="0">
              <a:lnSpc>
                <a:spcPts val="5391"/>
              </a:lnSpc>
              <a:spcBef>
                <a:spcPts val="0"/>
              </a:spcBef>
              <a:buFontTx/>
              <a:buNone/>
              <a:defRPr sz="5098">
                <a:solidFill>
                  <a:schemeClr val="tx2"/>
                </a:solidFill>
                <a:latin typeface="+mj-lt"/>
              </a:defRPr>
            </a:lvl1pPr>
            <a:lvl2pPr marL="0" indent="0">
              <a:lnSpc>
                <a:spcPts val="2549"/>
              </a:lnSpc>
              <a:spcBef>
                <a:spcPts val="1766"/>
              </a:spcBef>
              <a:spcAft>
                <a:spcPts val="0"/>
              </a:spcAft>
              <a:buFontTx/>
              <a:buNone/>
              <a:defRPr sz="5294">
                <a:solidFill>
                  <a:schemeClr val="tx2"/>
                </a:solidFill>
                <a:latin typeface="+mj-lt"/>
              </a:defRPr>
            </a:lvl2pPr>
            <a:lvl3pPr marL="225639" indent="-224083">
              <a:lnSpc>
                <a:spcPts val="2646"/>
              </a:lnSpc>
              <a:spcBef>
                <a:spcPts val="0"/>
              </a:spcBef>
              <a:defRPr sz="1961">
                <a:solidFill>
                  <a:schemeClr val="bg1"/>
                </a:solidFill>
              </a:defRPr>
            </a:lvl3pPr>
            <a:lvl4pPr marL="225639" indent="-224083">
              <a:lnSpc>
                <a:spcPts val="2646"/>
              </a:lnSpc>
              <a:spcBef>
                <a:spcPts val="0"/>
              </a:spcBef>
              <a:defRPr sz="1961">
                <a:solidFill>
                  <a:schemeClr val="bg1"/>
                </a:solidFill>
              </a:defRPr>
            </a:lvl4pPr>
            <a:lvl5pPr marL="225639" indent="-224083">
              <a:lnSpc>
                <a:spcPts val="2646"/>
              </a:lnSpc>
              <a:spcBef>
                <a:spcPts val="0"/>
              </a:spcBef>
              <a:defRPr sz="1961">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5543591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24578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a:prstGeom prst="rect">
            <a:avLst/>
          </a:prstGeo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094444" cy="6852151"/>
          </a:xfrm>
          <a:prstGeom prst="rect">
            <a:avLst/>
          </a:prstGeo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25394786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734468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3633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1985641"/>
          </a:xfrm>
        </p:spPr>
        <p:txBody>
          <a:bodyPr/>
          <a:lstStyle>
            <a:lvl1pPr marL="0" indent="0">
              <a:buNone/>
              <a:defRPr/>
            </a:lvl1pPr>
            <a:lvl2pPr marL="28009" indent="0">
              <a:buNone/>
              <a:defRPr sz="1961"/>
            </a:lvl2pPr>
            <a:lvl3pPr marL="219410" indent="0">
              <a:buNone/>
              <a:defRPr sz="1961"/>
            </a:lvl3pPr>
            <a:lvl4pPr marL="466829" indent="0">
              <a:buNone/>
              <a:defRPr sz="1765"/>
            </a:lvl4pPr>
            <a:lvl5pPr marL="72514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5029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27342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3072776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338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4208388132"/>
      </p:ext>
    </p:extLst>
  </p:cSld>
  <p:clrMapOvr>
    <a:masterClrMapping/>
  </p:clrMapOvr>
  <p:transition spd="slow">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3341077903"/>
      </p:ext>
    </p:extLst>
  </p:cSld>
  <p:clrMapOvr>
    <a:masterClrMapping/>
  </p:clrMapOvr>
  <p:transition spd="slow">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71021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lang="en-GB" smtClean="0">
                <a:solidFill>
                  <a:srgbClr val="505050"/>
                </a:solidFill>
              </a:rPr>
              <a:t>Microsoft Confidential</a:t>
            </a:r>
            <a:endParaRPr lang="en-GB">
              <a:solidFill>
                <a:srgbClr val="505050"/>
              </a:solidFill>
            </a:endParaRPr>
          </a:p>
        </p:txBody>
      </p:sp>
      <p:sp>
        <p:nvSpPr>
          <p:cNvPr id="4" name="Slide Number Placeholder 3"/>
          <p:cNvSpPr>
            <a:spLocks noGrp="1"/>
          </p:cNvSpPr>
          <p:nvPr>
            <p:ph type="sldNum" sz="quarter" idx="14"/>
          </p:nvPr>
        </p:nvSpPr>
        <p:spPr/>
        <p:txBody>
          <a:bodyPr/>
          <a:lstStyle>
            <a:lvl1pPr defTabSz="913949">
              <a:defRPr smtClean="0">
                <a:solidFill>
                  <a:schemeClr val="tx2"/>
                </a:solidFill>
              </a:defRPr>
            </a:lvl1pPr>
          </a:lstStyle>
          <a:p>
            <a:pPr>
              <a:defRPr/>
            </a:pPr>
            <a:fld id="{65E6FB79-1D5E-5E4D-ACCD-BF32CCDE6B3E}" type="slidenum">
              <a:rPr lang="en-GB" smtClean="0">
                <a:solidFill>
                  <a:srgbClr val="505050"/>
                </a:solidFill>
              </a:rPr>
              <a:pPr>
                <a:defRPr/>
              </a:pPr>
              <a:t>‹#›</a:t>
            </a:fld>
            <a:endParaRPr lang="en-GB" dirty="0">
              <a:solidFill>
                <a:srgbClr val="505050"/>
              </a:solidFill>
            </a:endParaRPr>
          </a:p>
        </p:txBody>
      </p:sp>
    </p:spTree>
    <p:extLst>
      <p:ext uri="{BB962C8B-B14F-4D97-AF65-F5344CB8AC3E}">
        <p14:creationId xmlns:p14="http://schemas.microsoft.com/office/powerpoint/2010/main" val="40831905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448212" y="6437742"/>
            <a:ext cx="3859607" cy="133860"/>
          </a:xfrm>
          <a:prstGeom prst="rect">
            <a:avLst/>
          </a:prstGeom>
        </p:spPr>
        <p:txBody>
          <a:bodyPr/>
          <a:lstStyle/>
          <a:p>
            <a:endParaRPr lang="en-GB"/>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GB" smtClean="0"/>
              <a:pPr/>
              <a:t>‹#›</a:t>
            </a:fld>
            <a:endParaRPr lang="en-GB" dirty="0"/>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smtClean="0"/>
              <a:t>Click to add subtitle</a:t>
            </a:r>
          </a:p>
        </p:txBody>
      </p:sp>
    </p:spTree>
    <p:extLst>
      <p:ext uri="{BB962C8B-B14F-4D97-AF65-F5344CB8AC3E}">
        <p14:creationId xmlns:p14="http://schemas.microsoft.com/office/powerpoint/2010/main" val="38718774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GB"/>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GB" smtClean="0"/>
              <a:pPr/>
              <a:t>‹#›</a:t>
            </a:fld>
            <a:endParaRPr lang="en-GB" dirty="0"/>
          </a:p>
        </p:txBody>
      </p:sp>
    </p:spTree>
    <p:extLst>
      <p:ext uri="{BB962C8B-B14F-4D97-AF65-F5344CB8AC3E}">
        <p14:creationId xmlns:p14="http://schemas.microsoft.com/office/powerpoint/2010/main" val="340021621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timing>
    <p:tnLst>
      <p:par>
        <p:cTn id="1" dur="indefinite" restart="never" nodeType="tmRoot"/>
      </p:par>
    </p:tnLst>
  </p:timing>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timing>
    <p:tnLst>
      <p:par>
        <p:cTn id="1" dur="indefinite" restart="never" nodeType="tmRoot"/>
      </p:par>
    </p:tnLst>
  </p:timing>
  <p:hf sldNum="0"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timing>
    <p:tnLst>
      <p:par>
        <p:cTn id="1" dur="indefinite" restart="never" nodeType="tmRoot"/>
      </p:par>
    </p:tnLst>
  </p:timing>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timing>
    <p:tnLst>
      <p:par>
        <p:cTn id="1" dur="indefinite" restart="never" nodeType="tmRoot"/>
      </p:par>
    </p:tnLst>
  </p:timing>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timing>
    <p:tnLst>
      <p:par>
        <p:cTn id="1" dur="indefinite" restart="never" nodeType="tmRoot"/>
      </p:par>
    </p:tnLst>
  </p:timing>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timing>
    <p:tnLst>
      <p:par>
        <p:cTn id="1" dur="indefinite" restart="never" nodeType="tmRoot"/>
      </p:par>
    </p:tnLst>
  </p:timing>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timing>
    <p:tnLst>
      <p:par>
        <p:cTn id="1" dur="indefinite" restart="never" nodeType="tmRoot"/>
      </p:par>
    </p:tnLst>
  </p:timing>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timing>
    <p:tnLst>
      <p:par>
        <p:cTn id="1" dur="indefinite" restart="never" nodeType="tmRoot"/>
      </p:par>
    </p:tnLst>
  </p:timing>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timing>
    <p:tnLst>
      <p:par>
        <p:cTn id="1" dur="indefinite" restart="never" nodeType="tmRoot"/>
      </p:par>
    </p:tnLst>
  </p:timing>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6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4"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18/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18/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2509757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timing>
    <p:tnLst>
      <p:par>
        <p:cTn id="1" dur="indefinite" restart="never" nodeType="tmRoot"/>
      </p:par>
    </p:tnLst>
  </p:timing>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timing>
    <p:tnLst>
      <p:par>
        <p:cTn id="1" dur="indefinite" restart="never" nodeType="tmRoot"/>
      </p:par>
    </p:tnLst>
  </p:timing>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timing>
    <p:tnLst>
      <p:par>
        <p:cTn id="1" dur="indefinite" restart="never" nodeType="tmRoot"/>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timing>
    <p:tnLst>
      <p:par>
        <p:cTn id="1" dur="indefinite" restart="never" nodeType="tmRoot"/>
      </p:par>
    </p:tnLst>
  </p:timing>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timing>
    <p:tnLst>
      <p:par>
        <p:cTn id="1" dur="indefinite" restart="never" nodeType="tmRoot"/>
      </p:par>
    </p:tnLst>
  </p:timing>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timing>
    <p:tnLst>
      <p:par>
        <p:cTn id="1" dur="indefinite" restart="never" nodeType="tmRoot"/>
      </p:par>
    </p:tnLst>
  </p:timing>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timing>
    <p:tnLst>
      <p:par>
        <p:cTn id="1" dur="indefinite" restart="never" nodeType="tmRoot"/>
      </p:par>
    </p:tnLst>
  </p:timing>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timing>
    <p:tnLst>
      <p:par>
        <p:cTn id="1" dur="indefinite" restart="never" nodeType="tmRoot"/>
      </p:par>
    </p:tnLst>
  </p:timing>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timing>
    <p:tnLst>
      <p:par>
        <p:cTn id="1" dur="indefinite" restart="never" nodeType="tmRoot"/>
      </p:par>
    </p:tnLst>
  </p:timing>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6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7.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oleObject" Target="../embeddings/oleObject2.bin"/><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image" Target="../media/image9.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vmlDrawing" Target="../drawings/vmlDrawing2.v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theme" Target="../theme/theme3.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4.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5.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image" Target="../media/image32.png"/><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theme" Target="../theme/theme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image" Target="../media/image33.png"/><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8" Type="http://schemas.openxmlformats.org/officeDocument/2006/relationships/slideLayout" Target="../slideLayouts/slideLayout141.xml"/><Relationship Id="rId3" Type="http://schemas.openxmlformats.org/officeDocument/2006/relationships/slideLayout" Target="../slideLayouts/slideLayout1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vmlDrawing" Target="../drawings/vmlDrawing9.v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heme" Target="../theme/theme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oleObject" Target="../embeddings/oleObject9.bin"/><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image" Target="../media/image46.png"/><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tags" Target="../tags/tag9.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835" r:id="rId1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8"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lang="en-GB" smtClean="0"/>
              <a:t>Microsoft Confidential</a:t>
            </a:r>
            <a:endParaRPr lang="en-GB"/>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GB" smtClean="0"/>
              <a:pPr>
                <a:defRPr/>
              </a:pPr>
              <a:t>‹#›</a:t>
            </a:fld>
            <a:endParaRPr lang="en-GB" dirty="0"/>
          </a:p>
        </p:txBody>
      </p:sp>
    </p:spTree>
    <p:extLst>
      <p:ext uri="{BB962C8B-B14F-4D97-AF65-F5344CB8AC3E}">
        <p14:creationId xmlns:p14="http://schemas.microsoft.com/office/powerpoint/2010/main" val="396274124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97"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6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4.xml"/><Relationship Id="rId7" Type="http://schemas.openxmlformats.org/officeDocument/2006/relationships/slideLayout" Target="../slideLayouts/slideLayout78.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58.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59.png"/><Relationship Id="rId9"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2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58.png"/><Relationship Id="rId7"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60.xml"/><Relationship Id="rId6" Type="http://schemas.openxmlformats.org/officeDocument/2006/relationships/image" Target="../media/image66.png"/><Relationship Id="rId5" Type="http://schemas.openxmlformats.org/officeDocument/2006/relationships/image" Target="../media/image67.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18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8.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5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Blinky and the Cloud</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332567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nfrastructure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Provides </a:t>
            </a:r>
            <a:r>
              <a:rPr lang="en-GB" sz="2800" dirty="0">
                <a:solidFill>
                  <a:srgbClr val="E7E6E6">
                    <a:lumMod val="50000"/>
                  </a:srgbClr>
                </a:solidFill>
                <a:latin typeface="Segoe UI" panose="020B0502040204020203" pitchFamily="34" charset="0"/>
                <a:cs typeface="Segoe UI" panose="020B0502040204020203" pitchFamily="34" charset="0"/>
              </a:rPr>
              <a:t>services for communications between appl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Core services: Relays, Queues, Topics, Events hubs and Notif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ervice Bu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46427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igh –volu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ssage </a:t>
            </a:r>
            <a:r>
              <a:rPr lang="en-GB" sz="2800" dirty="0" err="1">
                <a:solidFill>
                  <a:srgbClr val="E7E6E6">
                    <a:lumMod val="50000"/>
                  </a:srgbClr>
                </a:solidFill>
                <a:latin typeface="Segoe UI" panose="020B0502040204020203" pitchFamily="34" charset="0"/>
                <a:cs typeface="Segoe UI" panose="020B0502040204020203" pitchFamily="34" charset="0"/>
              </a:rPr>
              <a:t>i</a:t>
            </a:r>
            <a:r>
              <a:rPr kumimoji="0" lang="en-GB" sz="2800" b="0" i="0" u="none" strike="noStrike" kern="1200" cap="none" spc="0" normalizeH="0" baseline="0" noProof="0" dirty="0" err="1"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ngestion</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Millions </a:t>
            </a:r>
            <a:r>
              <a:rPr lang="en-GB" sz="2800" dirty="0" smtClean="0">
                <a:solidFill>
                  <a:srgbClr val="E7E6E6">
                    <a:lumMod val="50000"/>
                  </a:srgbClr>
                </a:solidFill>
                <a:latin typeface="Segoe UI" panose="020B0502040204020203" pitchFamily="34" charset="0"/>
                <a:cs typeface="Segoe UI" panose="020B0502040204020203" pitchFamily="34" charset="0"/>
              </a:rPr>
              <a:t>of </a:t>
            </a:r>
            <a:r>
              <a:rPr lang="en-GB" sz="2800" dirty="0">
                <a:solidFill>
                  <a:srgbClr val="E7E6E6">
                    <a:lumMod val="50000"/>
                  </a:srgbClr>
                </a:solidFill>
                <a:latin typeface="Segoe UI" panose="020B0502040204020203" pitchFamily="34" charset="0"/>
                <a:cs typeface="Segoe UI" panose="020B0502040204020203" pitchFamily="34" charset="0"/>
              </a:rPr>
              <a:t>events from millions of data </a:t>
            </a:r>
            <a:r>
              <a:rPr lang="en-GB" sz="2800" dirty="0" smtClean="0">
                <a:solidFill>
                  <a:srgbClr val="E7E6E6">
                    <a:lumMod val="50000"/>
                  </a:srgbClr>
                </a:solidFill>
                <a:latin typeface="Segoe UI" panose="020B0502040204020203" pitchFamily="34" charset="0"/>
                <a:cs typeface="Segoe UI" panose="020B0502040204020203" pitchFamily="34" charset="0"/>
              </a:rPr>
              <a:t>sources </a:t>
            </a:r>
            <a:r>
              <a:rPr lang="en-GB" sz="2800" dirty="0">
                <a:solidFill>
                  <a:srgbClr val="E7E6E6">
                    <a:lumMod val="50000"/>
                  </a:srgbClr>
                </a:solidFill>
                <a:latin typeface="Segoe UI" panose="020B0502040204020203" pitchFamily="34" charset="0"/>
                <a:cs typeface="Segoe UI" panose="020B0502040204020203" pitchFamily="34" charset="0"/>
              </a:rPr>
              <a:t>per second</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1" name="TextBox 80"/>
          <p:cNvSpPr txBox="1"/>
          <p:nvPr/>
        </p:nvSpPr>
        <p:spPr>
          <a:xfrm>
            <a:off x="695828" y="3546767"/>
            <a:ext cx="6761351"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HTTPS/AMQP</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Event Hub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0022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Large amounts of unstructured data in many</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varieti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692171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Use containers to logically group your fil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67613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Durable and highly avaliable</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and scalable</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6000" dirty="0" smtClean="0">
                <a:solidFill>
                  <a:srgbClr val="442157"/>
                </a:solidFill>
              </a:rPr>
              <a:t>Azure Blob Storage</a:t>
            </a:r>
            <a:endParaRPr lang="en-GB" sz="4000" dirty="0">
              <a:solidFill>
                <a:srgbClr val="442157"/>
              </a:solidFill>
            </a:endParaRPr>
          </a:p>
        </p:txBody>
      </p:sp>
    </p:spTree>
    <p:extLst>
      <p:ext uri="{BB962C8B-B14F-4D97-AF65-F5344CB8AC3E}">
        <p14:creationId xmlns:p14="http://schemas.microsoft.com/office/powerpoint/2010/main" val="42229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Blinky and the Cloud: </a:t>
            </a:r>
            <a:r>
              <a:rPr lang="en-GB" sz="6000" dirty="0" smtClean="0">
                <a:solidFill>
                  <a:srgbClr val="442157"/>
                </a:solidFill>
                <a:ea typeface="+mj-ea"/>
                <a:cs typeface="+mj-cs"/>
              </a:rPr>
              <a:t>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691139" y="41006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9" y="1703282"/>
            <a:ext cx="3565890" cy="101757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0" name="Picture 9"/>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9418766" y="1653341"/>
            <a:ext cx="1010230" cy="1010230"/>
          </a:xfrm>
          <a:prstGeom prst="rect">
            <a:avLst/>
          </a:prstGeom>
        </p:spPr>
      </p:pic>
      <p:sp>
        <p:nvSpPr>
          <p:cNvPr id="18" name="Freeform 17"/>
          <p:cNvSpPr/>
          <p:nvPr/>
        </p:nvSpPr>
        <p:spPr>
          <a:xfrm rot="2324010">
            <a:off x="5661719" y="3144700"/>
            <a:ext cx="1682487" cy="68878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862255" y="4396426"/>
            <a:ext cx="2084501" cy="1428933"/>
          </a:xfrm>
          <a:prstGeom prst="rect">
            <a:avLst/>
          </a:prstGeom>
        </p:spPr>
      </p:pic>
      <p:sp>
        <p:nvSpPr>
          <p:cNvPr id="15" name="Freeform 14"/>
          <p:cNvSpPr/>
          <p:nvPr/>
        </p:nvSpPr>
        <p:spPr>
          <a:xfrm flipV="1">
            <a:off x="7181386" y="5289164"/>
            <a:ext cx="1828799"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6740" t="11909" r="5416" b="10090"/>
          <a:stretch/>
        </p:blipFill>
        <p:spPr>
          <a:xfrm>
            <a:off x="9066447" y="4995149"/>
            <a:ext cx="2609386" cy="1390185"/>
          </a:xfrm>
          <a:prstGeom prst="rect">
            <a:avLst/>
          </a:prstGeom>
        </p:spPr>
      </p:pic>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600" dirty="0" smtClean="0">
                <a:solidFill>
                  <a:schemeClr val="bg1"/>
                </a:solidFill>
              </a:rPr>
              <a:t>Blinky and the Cloud</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776684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Stream Analytics</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Processing data in the cloud in real time using an Azure Servic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solidFill>
                  <a:srgbClr val="442157"/>
                </a:solidFill>
                <a:ea typeface="+mj-ea"/>
                <a:cs typeface="+mj-cs"/>
              </a:rPr>
              <a:t>Azure</a:t>
            </a:r>
            <a:r>
              <a:rPr lang="en-US" sz="6000" dirty="0">
                <a:solidFill>
                  <a:srgbClr val="442157"/>
                </a:solidFill>
                <a:ea typeface="+mj-ea"/>
                <a:cs typeface="+mj-cs"/>
              </a:rPr>
              <a:t> Stream Analytics: Components</a:t>
            </a:r>
            <a:endParaRPr lang="en-US" sz="6000" dirty="0">
              <a:solidFill>
                <a:srgbClr val="442157"/>
              </a:solidFill>
              <a:ea typeface="+mj-ea"/>
              <a:cs typeface="+mj-cs"/>
            </a:endParaRPr>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9412736" y="2147544"/>
            <a:ext cx="2166695" cy="3449933"/>
            <a:chOff x="9682619" y="2029215"/>
            <a:chExt cx="2167003" cy="3450422"/>
          </a:xfrm>
        </p:grpSpPr>
        <p:grpSp>
          <p:nvGrpSpPr>
            <p:cNvPr id="102" name="Group 101"/>
            <p:cNvGrpSpPr/>
            <p:nvPr/>
          </p:nvGrpSpPr>
          <p:grpSpPr>
            <a:xfrm>
              <a:off x="9682619" y="2029215"/>
              <a:ext cx="2167003" cy="3450422"/>
              <a:chOff x="9707671" y="1478071"/>
              <a:chExt cx="2167003" cy="3450422"/>
            </a:xfrm>
          </p:grpSpPr>
          <p:sp>
            <p:nvSpPr>
              <p:cNvPr id="49" name="Rectangle 48"/>
              <p:cNvSpPr/>
              <p:nvPr/>
            </p:nvSpPr>
            <p:spPr bwMode="auto">
              <a:xfrm>
                <a:off x="9707671" y="1478071"/>
                <a:ext cx="2167003" cy="34504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10050788" y="2341589"/>
                <a:ext cx="1480768" cy="57259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10050788" y="3519101"/>
                <a:ext cx="1480768" cy="59277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grpSp>
        <p:sp>
          <p:nvSpPr>
            <p:cNvPr id="115" name="Rounded Rectangle 114"/>
            <p:cNvSpPr/>
            <p:nvPr/>
          </p:nvSpPr>
          <p:spPr>
            <a:xfrm>
              <a:off x="10025736" y="3505304"/>
              <a:ext cx="1480768"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grp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nodeType="with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Real-ti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tream processing in the cloud</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Out-of-the-box integration with Event Hub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bility to compare real-time streams with historical values and mode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63378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a:t>
            </a:r>
            <a:r>
              <a:rPr kumimoji="0" lang="en-GB" sz="6000" b="0" i="0" u="none" strike="noStrike" kern="1200" cap="none" spc="0" normalizeH="0" baseline="0" noProof="0" dirty="0" err="1" smtClean="0">
                <a:ln>
                  <a:noFill/>
                </a:ln>
                <a:solidFill>
                  <a:srgbClr val="442157"/>
                </a:solidFill>
                <a:effectLst/>
                <a:uLnTx/>
                <a:uFillTx/>
                <a:latin typeface="Calibri Light" panose="020F0302020204030204"/>
                <a:ea typeface="+mj-ea"/>
                <a:cs typeface="+mj-cs"/>
              </a:rPr>
              <a:t>Strea</a:t>
            </a:r>
            <a:r>
              <a:rPr lang="en-GB" sz="6000" dirty="0" smtClean="0">
                <a:solidFill>
                  <a:srgbClr val="442157"/>
                </a:solidFill>
                <a:latin typeface="Calibri Light" panose="020F0302020204030204"/>
              </a:rPr>
              <a:t>m Analytic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 relational database-as-a-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lastic databas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odel</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79962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Supports</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popular platforms and technologies: .NET, Java, PHP, Ruby on Rails and Node.js </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912391"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QL Database</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227870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32"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 name="Title 3"/>
          <p:cNvSpPr>
            <a:spLocks noGrp="1"/>
          </p:cNvSpPr>
          <p:nvPr>
            <p:ph type="title"/>
          </p:nvPr>
        </p:nvSpPr>
        <p:spPr/>
        <p:txBody>
          <a:bodyPr/>
          <a:lstStyle/>
          <a:p>
            <a:r>
              <a:rPr lang="en-US" sz="6000" dirty="0">
                <a:solidFill>
                  <a:srgbClr val="442157"/>
                </a:solidFill>
                <a:ea typeface="+mj-ea"/>
                <a:cs typeface="+mj-cs"/>
              </a:rPr>
              <a:t>T</a:t>
            </a:r>
            <a:r>
              <a:rPr lang="en-US" sz="6000" dirty="0" smtClean="0">
                <a:solidFill>
                  <a:srgbClr val="442157"/>
                </a:solidFill>
                <a:ea typeface="+mj-ea"/>
                <a:cs typeface="+mj-cs"/>
              </a:rPr>
              <a:t>he </a:t>
            </a:r>
            <a:r>
              <a:rPr lang="en-US" sz="6000" dirty="0">
                <a:solidFill>
                  <a:srgbClr val="442157"/>
                </a:solidFill>
                <a:ea typeface="+mj-ea"/>
                <a:cs typeface="+mj-cs"/>
              </a:rPr>
              <a:t>Internet of </a:t>
            </a:r>
            <a:r>
              <a:rPr lang="en-US" sz="6000" dirty="0" smtClean="0">
                <a:solidFill>
                  <a:srgbClr val="442157"/>
                </a:solidFill>
                <a:ea typeface="+mj-ea"/>
                <a:cs typeface="+mj-cs"/>
              </a:rPr>
              <a:t>Things</a:t>
            </a:r>
            <a:endParaRPr lang="en-US" sz="6000" dirty="0">
              <a:solidFill>
                <a:srgbClr val="442157"/>
              </a:solidFill>
              <a:ea typeface="+mj-ea"/>
              <a:cs typeface="+mj-cs"/>
            </a:endParaRPr>
          </a:p>
        </p:txBody>
      </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rgbClr val="68217A"/>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ransform</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your data into rich visua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82195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onnect data from a huge amount of data source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86524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reate personalised</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dashboards and make confident decision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Power BI</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13702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8" y="104753"/>
            <a:ext cx="11460247" cy="1325563"/>
          </a:xfrm>
        </p:spPr>
        <p:txBody>
          <a:bodyPr>
            <a:noAutofit/>
          </a:bodyPr>
          <a:lstStyle/>
          <a:p>
            <a:r>
              <a:rPr lang="en-GB" sz="6000" dirty="0" smtClean="0">
                <a:solidFill>
                  <a:srgbClr val="442157"/>
                </a:solidFill>
                <a:ea typeface="+mj-ea"/>
                <a:cs typeface="+mj-cs"/>
              </a:rPr>
              <a:t>Azure Stream Analytics: </a:t>
            </a:r>
            <a:r>
              <a:rPr lang="en-GB" sz="6000" dirty="0" smtClean="0">
                <a:solidFill>
                  <a:srgbClr val="442157"/>
                </a:solidFill>
                <a:ea typeface="+mj-ea"/>
                <a:cs typeface="+mj-cs"/>
              </a:rPr>
              <a:t>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3" name="Picture 1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pic>
        <p:nvPicPr>
          <p:cNvPr id="5" name="Picture 4"/>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047397" y="1651971"/>
            <a:ext cx="1011600" cy="1011600"/>
          </a:xfrm>
          <a:prstGeom prst="rect">
            <a:avLst/>
          </a:prstGeom>
        </p:spPr>
      </p:pic>
      <p:sp>
        <p:nvSpPr>
          <p:cNvPr id="21" name="Freeform 20"/>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3" name="Freeform 22"/>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1" name="Group 10"/>
          <p:cNvGrpSpPr/>
          <p:nvPr/>
        </p:nvGrpSpPr>
        <p:grpSpPr>
          <a:xfrm>
            <a:off x="634851" y="4307682"/>
            <a:ext cx="2405714" cy="2122038"/>
            <a:chOff x="634851" y="4307682"/>
            <a:chExt cx="2405714" cy="2122038"/>
          </a:xfrm>
        </p:grpSpPr>
        <p:grpSp>
          <p:nvGrpSpPr>
            <p:cNvPr id="30" name="Group 29"/>
            <p:cNvGrpSpPr/>
            <p:nvPr/>
          </p:nvGrpSpPr>
          <p:grpSpPr>
            <a:xfrm>
              <a:off x="634851" y="4307682"/>
              <a:ext cx="960199" cy="970385"/>
              <a:chOff x="699313" y="2289942"/>
              <a:chExt cx="979453" cy="989843"/>
            </a:xfrm>
            <a:solidFill>
              <a:srgbClr val="A6A6A6"/>
            </a:solidFill>
          </p:grpSpPr>
          <p:sp>
            <p:nvSpPr>
              <p:cNvPr id="31"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6" name="Group 5"/>
            <p:cNvGrpSpPr/>
            <p:nvPr/>
          </p:nvGrpSpPr>
          <p:grpSpPr>
            <a:xfrm>
              <a:off x="1885685" y="4421484"/>
              <a:ext cx="1154880" cy="914165"/>
              <a:chOff x="702726" y="4244294"/>
              <a:chExt cx="862790" cy="666531"/>
            </a:xfrm>
          </p:grpSpPr>
          <p:sp>
            <p:nvSpPr>
              <p:cNvPr id="33" name="TextBox 32"/>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34" name="Group 33"/>
              <p:cNvGrpSpPr/>
              <p:nvPr/>
            </p:nvGrpSpPr>
            <p:grpSpPr>
              <a:xfrm>
                <a:off x="702726" y="4244294"/>
                <a:ext cx="862790" cy="429878"/>
                <a:chOff x="5416547" y="3144838"/>
                <a:chExt cx="1352553" cy="565150"/>
              </a:xfrm>
              <a:solidFill>
                <a:srgbClr val="A5A5A5"/>
              </a:solidFill>
            </p:grpSpPr>
            <p:sp>
              <p:nvSpPr>
                <p:cNvPr id="3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 name="Group 8"/>
            <p:cNvGrpSpPr/>
            <p:nvPr/>
          </p:nvGrpSpPr>
          <p:grpSpPr>
            <a:xfrm>
              <a:off x="1360059" y="5472084"/>
              <a:ext cx="1051375" cy="957636"/>
              <a:chOff x="682780" y="3078042"/>
              <a:chExt cx="1051375" cy="957636"/>
            </a:xfrm>
            <a:solidFill>
              <a:schemeClr val="tx1">
                <a:lumMod val="50000"/>
              </a:schemeClr>
            </a:solidFill>
          </p:grpSpPr>
          <p:grpSp>
            <p:nvGrpSpPr>
              <p:cNvPr id="39" name="Group 38"/>
              <p:cNvGrpSpPr/>
              <p:nvPr/>
            </p:nvGrpSpPr>
            <p:grpSpPr>
              <a:xfrm>
                <a:off x="682780" y="3078042"/>
                <a:ext cx="1051375" cy="661144"/>
                <a:chOff x="681416" y="4028239"/>
                <a:chExt cx="634251" cy="379977"/>
              </a:xfrm>
              <a:grpFill/>
            </p:grpSpPr>
            <p:sp>
              <p:nvSpPr>
                <p:cNvPr id="4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43" name="TextBox 42"/>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44" name="Picture 4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spTree>
    <p:extLst>
      <p:ext uri="{BB962C8B-B14F-4D97-AF65-F5344CB8AC3E}">
        <p14:creationId xmlns:p14="http://schemas.microsoft.com/office/powerpoint/2010/main" val="3039556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Azure Stream Analytics</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87649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lt;enter brief explanation here&gt;</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Storm on Azure: </a:t>
            </a:r>
            <a:r>
              <a:rPr lang="en-GB" sz="6000" dirty="0" smtClean="0">
                <a:solidFill>
                  <a:srgbClr val="442157"/>
                </a:solidFill>
                <a:ea typeface="+mj-ea"/>
                <a:cs typeface="+mj-cs"/>
              </a:rPr>
              <a:t>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Allans</a:t>
            </a:r>
            <a:r>
              <a:rPr lang="en-GB" dirty="0" smtClean="0"/>
              <a:t> slides here</a:t>
            </a:r>
            <a:endParaRPr lang="en-GB" dirty="0"/>
          </a:p>
        </p:txBody>
      </p:sp>
    </p:spTree>
    <p:extLst>
      <p:ext uri="{BB962C8B-B14F-4D97-AF65-F5344CB8AC3E}">
        <p14:creationId xmlns:p14="http://schemas.microsoft.com/office/powerpoint/2010/main" val="39379519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Storm on Azure</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396047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its 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ere to find resources and kits and logistics</a:t>
            </a:r>
            <a:br>
              <a:rPr lang="en-GB" dirty="0" smtClean="0"/>
            </a:br>
            <a:endParaRPr lang="en-GB" dirty="0"/>
          </a:p>
        </p:txBody>
      </p:sp>
    </p:spTree>
    <p:extLst>
      <p:ext uri="{BB962C8B-B14F-4D97-AF65-F5344CB8AC3E}">
        <p14:creationId xmlns:p14="http://schemas.microsoft.com/office/powerpoint/2010/main" val="294932010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puslse"/>
          <p:cNvSpPr>
            <a:spLocks/>
          </p:cNvSpPr>
          <p:nvPr/>
        </p:nvSpPr>
        <p:spPr bwMode="auto">
          <a:xfrm flipH="1">
            <a:off x="626664" y="-361936"/>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grpSp>
        <p:nvGrpSpPr>
          <p:cNvPr id="459" name="Group 458"/>
          <p:cNvGrpSpPr/>
          <p:nvPr/>
        </p:nvGrpSpPr>
        <p:grpSpPr>
          <a:xfrm>
            <a:off x="324356" y="-68910"/>
            <a:ext cx="11184412" cy="6995908"/>
            <a:chOff x="323536" y="-69407"/>
            <a:chExt cx="11185999" cy="6996901"/>
          </a:xfrm>
        </p:grpSpPr>
        <p:pic>
          <p:nvPicPr>
            <p:cNvPr id="1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96243" y="546518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06806" y="599227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701189" y="600781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03823" y="6024563"/>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510" y="573545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323536" y="-69407"/>
              <a:ext cx="11185999" cy="6653859"/>
              <a:chOff x="323536" y="-69407"/>
              <a:chExt cx="11185999" cy="6653859"/>
            </a:xfrm>
          </p:grpSpPr>
          <p:pic>
            <p:nvPicPr>
              <p:cNvPr id="11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83514" y="245080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a:spLocks noChangeArrowheads="1"/>
              </p:cNvSpPr>
              <p:nvPr/>
            </p:nvSpPr>
            <p:spPr bwMode="auto">
              <a:xfrm>
                <a:off x="323536" y="3169800"/>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pic>
            <p:nvPicPr>
              <p:cNvPr id="11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8806" y="1585086"/>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09676" y="92583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76833" y="94236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16256" y="114564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3424" y="162915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3485" y="419959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86862" y="3415182"/>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821332" y="516189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45569" y="-6940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52867" y="509272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1083" y="371024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295444" y="841745"/>
                <a:ext cx="1067180" cy="93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8849" y="501140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7439" y="13957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0302" y="4703936"/>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55851" y="50900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2270" y="3913072"/>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102" y="4836421"/>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88869" y="4094248"/>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22211" y="2631490"/>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37153" y="475052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1393" y="573212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09262" y="86573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59007" y="1082695"/>
                <a:ext cx="723623" cy="63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56" name="THOUSANDS OF ELEVATORS"/>
          <p:cNvSpPr>
            <a:spLocks/>
          </p:cNvSpPr>
          <p:nvPr/>
        </p:nvSpPr>
        <p:spPr bwMode="auto">
          <a:xfrm flipH="1">
            <a:off x="607740" y="-339887"/>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sp>
        <p:nvSpPr>
          <p:cNvPr id="451" name="puslse"/>
          <p:cNvSpPr/>
          <p:nvPr/>
        </p:nvSpPr>
        <p:spPr bwMode="auto">
          <a:xfrm rot="18829287" flipV="1">
            <a:off x="3652054" y="1326312"/>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2" name="puslse"/>
          <p:cNvSpPr/>
          <p:nvPr/>
        </p:nvSpPr>
        <p:spPr bwMode="auto">
          <a:xfrm rot="18829287" flipV="1">
            <a:off x="4226780" y="1669024"/>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3" name="puslse"/>
          <p:cNvSpPr/>
          <p:nvPr/>
        </p:nvSpPr>
        <p:spPr bwMode="auto">
          <a:xfrm rot="18829287" flipV="1">
            <a:off x="4761853" y="2026864"/>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4" name="puslse"/>
          <p:cNvSpPr/>
          <p:nvPr/>
        </p:nvSpPr>
        <p:spPr bwMode="auto">
          <a:xfrm rot="7873067" flipH="1" flipV="1">
            <a:off x="7386909" y="5518481"/>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5" name="puslse"/>
          <p:cNvSpPr/>
          <p:nvPr/>
        </p:nvSpPr>
        <p:spPr bwMode="auto">
          <a:xfrm rot="7873067" flipH="1" flipV="1">
            <a:off x="7175612" y="5270915"/>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6" name="puslse"/>
          <p:cNvSpPr/>
          <p:nvPr/>
        </p:nvSpPr>
        <p:spPr bwMode="auto">
          <a:xfrm rot="7873067" flipH="1" flipV="1">
            <a:off x="7070029" y="5038319"/>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cxnSp>
        <p:nvCxnSpPr>
          <p:cNvPr id="491" name="C - S"/>
          <p:cNvCxnSpPr/>
          <p:nvPr/>
        </p:nvCxnSpPr>
        <p:spPr>
          <a:xfrm flipH="1">
            <a:off x="4001888" y="2083088"/>
            <a:ext cx="3420308" cy="0"/>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94" name="S - C"/>
          <p:cNvCxnSpPr/>
          <p:nvPr/>
        </p:nvCxnSpPr>
        <p:spPr>
          <a:xfrm>
            <a:off x="4147615" y="1834994"/>
            <a:ext cx="3420308" cy="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34" name="C - L"/>
          <p:cNvCxnSpPr/>
          <p:nvPr/>
        </p:nvCxnSpPr>
        <p:spPr>
          <a:xfrm flipH="1">
            <a:off x="5899529" y="4598688"/>
            <a:ext cx="2533672" cy="1393228"/>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4" name="L - C"/>
          <p:cNvCxnSpPr/>
          <p:nvPr/>
        </p:nvCxnSpPr>
        <p:spPr>
          <a:xfrm flipV="1">
            <a:off x="6030799" y="4348204"/>
            <a:ext cx="2244541" cy="1247410"/>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5" name="L - S"/>
          <p:cNvCxnSpPr/>
          <p:nvPr/>
        </p:nvCxnSpPr>
        <p:spPr>
          <a:xfrm flipH="1" flipV="1">
            <a:off x="2647065" y="3579354"/>
            <a:ext cx="1159848" cy="131170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6" name="S - L"/>
          <p:cNvCxnSpPr/>
          <p:nvPr/>
        </p:nvCxnSpPr>
        <p:spPr>
          <a:xfrm>
            <a:off x="3184316" y="3532680"/>
            <a:ext cx="1338416" cy="146566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48" name="Rectangle 10247"/>
          <p:cNvSpPr/>
          <p:nvPr/>
        </p:nvSpPr>
        <p:spPr bwMode="auto">
          <a:xfrm>
            <a:off x="2870914" y="423336"/>
            <a:ext cx="4256432" cy="5028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An example of the Internet of Things</a:t>
            </a:r>
            <a:endParaRPr lang="en-US" dirty="0"/>
          </a:p>
        </p:txBody>
      </p:sp>
      <p:sp>
        <p:nvSpPr>
          <p:cNvPr id="12" name="Pie 11"/>
          <p:cNvSpPr/>
          <p:nvPr/>
        </p:nvSpPr>
        <p:spPr bwMode="auto">
          <a:xfrm>
            <a:off x="5843274" y="1866235"/>
            <a:ext cx="594691" cy="584708"/>
          </a:xfrm>
          <a:prstGeom prst="pie">
            <a:avLst>
              <a:gd name="adj1" fmla="val 10832146"/>
              <a:gd name="adj2" fmla="val 285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ELEVATOR"/>
          <p:cNvGrpSpPr/>
          <p:nvPr/>
        </p:nvGrpSpPr>
        <p:grpSpPr>
          <a:xfrm>
            <a:off x="5287223" y="1824142"/>
            <a:ext cx="1739461" cy="3066913"/>
            <a:chOff x="5287108" y="1823914"/>
            <a:chExt cx="1739708" cy="3067348"/>
          </a:xfrm>
        </p:grpSpPr>
        <p:grpSp>
          <p:nvGrpSpPr>
            <p:cNvPr id="16" name="Elevator"/>
            <p:cNvGrpSpPr/>
            <p:nvPr/>
          </p:nvGrpSpPr>
          <p:grpSpPr>
            <a:xfrm>
              <a:off x="5287108" y="2253513"/>
              <a:ext cx="1739708" cy="2637749"/>
              <a:chOff x="5197630" y="2221464"/>
              <a:chExt cx="1739708" cy="2637749"/>
            </a:xfrm>
          </p:grpSpPr>
          <p:grpSp>
            <p:nvGrpSpPr>
              <p:cNvPr id="13" name="Group 12"/>
              <p:cNvGrpSpPr/>
              <p:nvPr/>
            </p:nvGrpSpPr>
            <p:grpSpPr>
              <a:xfrm>
                <a:off x="5436491" y="2471797"/>
                <a:ext cx="1265531" cy="2342783"/>
                <a:chOff x="5436491" y="2471797"/>
                <a:chExt cx="1265531" cy="2342783"/>
              </a:xfrm>
            </p:grpSpPr>
            <p:sp>
              <p:nvSpPr>
                <p:cNvPr id="9" name="Rectangle 8"/>
                <p:cNvSpPr/>
                <p:nvPr/>
              </p:nvSpPr>
              <p:spPr bwMode="auto">
                <a:xfrm>
                  <a:off x="5436491"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Rectangle 445"/>
                <p:cNvSpPr/>
                <p:nvPr/>
              </p:nvSpPr>
              <p:spPr bwMode="auto">
                <a:xfrm>
                  <a:off x="6067484"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5506103"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6137096"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5" name="Rectangle 444"/>
              <p:cNvSpPr/>
              <p:nvPr/>
            </p:nvSpPr>
            <p:spPr bwMode="auto">
              <a:xfrm>
                <a:off x="5197630" y="2221464"/>
                <a:ext cx="1739708" cy="2637749"/>
              </a:xfrm>
              <a:custGeom>
                <a:avLst/>
                <a:gdLst/>
                <a:ahLst/>
                <a:cxnLst/>
                <a:rect l="l" t="t" r="r" b="b"/>
                <a:pathLst>
                  <a:path w="1739708" h="2637749">
                    <a:moveTo>
                      <a:pt x="0" y="0"/>
                    </a:moveTo>
                    <a:lnTo>
                      <a:pt x="1739708" y="0"/>
                    </a:lnTo>
                    <a:lnTo>
                      <a:pt x="1739708" y="32049"/>
                    </a:lnTo>
                    <a:lnTo>
                      <a:pt x="1739708" y="250333"/>
                    </a:lnTo>
                    <a:lnTo>
                      <a:pt x="1739708" y="2637749"/>
                    </a:lnTo>
                    <a:lnTo>
                      <a:pt x="1486960" y="2637749"/>
                    </a:lnTo>
                    <a:lnTo>
                      <a:pt x="1486960" y="250333"/>
                    </a:lnTo>
                    <a:lnTo>
                      <a:pt x="252748" y="250333"/>
                    </a:lnTo>
                    <a:lnTo>
                      <a:pt x="252748" y="2637749"/>
                    </a:lnTo>
                    <a:lnTo>
                      <a:pt x="0" y="2637749"/>
                    </a:lnTo>
                    <a:lnTo>
                      <a:pt x="0" y="250333"/>
                    </a:lnTo>
                    <a:lnTo>
                      <a:pt x="0" y="32049"/>
                    </a:lnTo>
                    <a:close/>
                  </a:path>
                </a:pathLst>
              </a:custGeom>
              <a:pattFill prst="lgGrid">
                <a:fgClr>
                  <a:schemeClr val="tx1"/>
                </a:fgClr>
                <a:bgClr>
                  <a:schemeClr val="bg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LOAD METER"/>
            <p:cNvSpPr>
              <a:spLocks noChangeAspect="1"/>
            </p:cNvSpPr>
            <p:nvPr/>
          </p:nvSpPr>
          <p:spPr bwMode="auto">
            <a:xfrm rot="1919497">
              <a:off x="5827174" y="1823914"/>
              <a:ext cx="666666" cy="566397"/>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4" name="C - S"/>
          <p:cNvCxnSpPr/>
          <p:nvPr/>
        </p:nvCxnSpPr>
        <p:spPr>
          <a:xfrm flipH="1">
            <a:off x="7067254" y="3073278"/>
            <a:ext cx="767394" cy="337589"/>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65" name="S - C"/>
          <p:cNvCxnSpPr/>
          <p:nvPr/>
        </p:nvCxnSpPr>
        <p:spPr>
          <a:xfrm flipV="1">
            <a:off x="7210896" y="2661677"/>
            <a:ext cx="623753" cy="2578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C - S"/>
          <p:cNvCxnSpPr/>
          <p:nvPr/>
        </p:nvCxnSpPr>
        <p:spPr>
          <a:xfrm flipH="1">
            <a:off x="5158275" y="5129857"/>
            <a:ext cx="814719" cy="6074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 - C"/>
          <p:cNvCxnSpPr/>
          <p:nvPr/>
        </p:nvCxnSpPr>
        <p:spPr>
          <a:xfrm flipV="1">
            <a:off x="5148555" y="5015453"/>
            <a:ext cx="563487" cy="33599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C - S"/>
          <p:cNvCxnSpPr/>
          <p:nvPr/>
        </p:nvCxnSpPr>
        <p:spPr>
          <a:xfrm flipH="1">
            <a:off x="3633011" y="3158919"/>
            <a:ext cx="1402507" cy="0"/>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 - C"/>
          <p:cNvCxnSpPr/>
          <p:nvPr/>
        </p:nvCxnSpPr>
        <p:spPr>
          <a:xfrm flipV="1">
            <a:off x="3891191" y="2919552"/>
            <a:ext cx="1234901" cy="2"/>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a:spLocks noChangeArrowheads="1"/>
          </p:cNvSpPr>
          <p:nvPr/>
        </p:nvSpPr>
        <p:spPr bwMode="auto">
          <a:xfrm>
            <a:off x="324355" y="3169837"/>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0" name="Business planner"/>
          <p:cNvGrpSpPr/>
          <p:nvPr/>
        </p:nvGrpSpPr>
        <p:grpSpPr>
          <a:xfrm>
            <a:off x="1589320" y="4823295"/>
            <a:ext cx="3652784" cy="1968200"/>
            <a:chOff x="1588681" y="4823492"/>
            <a:chExt cx="3653302" cy="1968480"/>
          </a:xfrm>
        </p:grpSpPr>
        <p:grpSp>
          <p:nvGrpSpPr>
            <p:cNvPr id="5" name="LAPTOP"/>
            <p:cNvGrpSpPr/>
            <p:nvPr/>
          </p:nvGrpSpPr>
          <p:grpSpPr>
            <a:xfrm>
              <a:off x="2870456" y="5203233"/>
              <a:ext cx="2371527" cy="1588739"/>
              <a:chOff x="2870456" y="5203233"/>
              <a:chExt cx="2371527" cy="1588739"/>
            </a:xfrm>
          </p:grpSpPr>
          <p:pic>
            <p:nvPicPr>
              <p:cNvPr id="88067"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103907" y="5250676"/>
                <a:ext cx="1904624" cy="110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9" name="Round Same Side Corner Rectangle 11"/>
              <p:cNvSpPr/>
              <p:nvPr/>
            </p:nvSpPr>
            <p:spPr>
              <a:xfrm>
                <a:off x="2870456" y="5203233"/>
                <a:ext cx="2371527" cy="1588739"/>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5"/>
              </a:solidFill>
              <a:ln w="25400" cap="flat" cmpd="sng" algn="ctr">
                <a:noFill/>
                <a:prstDash val="solid"/>
              </a:ln>
              <a:effectLst/>
            </p:spPr>
            <p:txBody>
              <a:bodyPr rtlCol="0" anchor="ctr"/>
              <a:lstStyle/>
              <a:p>
                <a:pPr algn="ctr" defTabSz="914225">
                  <a:defRPr/>
                </a:pPr>
                <a:endParaRPr lang="en-US" kern="0">
                  <a:solidFill>
                    <a:srgbClr val="008272"/>
                  </a:solidFill>
                  <a:latin typeface="Segoe"/>
                </a:endParaRPr>
              </a:p>
            </p:txBody>
          </p:sp>
        </p:grpSp>
        <p:sp>
          <p:nvSpPr>
            <p:cNvPr id="120" name="Freeform 119"/>
            <p:cNvSpPr>
              <a:spLocks noChangeAspect="1"/>
            </p:cNvSpPr>
            <p:nvPr/>
          </p:nvSpPr>
          <p:spPr bwMode="auto">
            <a:xfrm rot="5400000">
              <a:off x="1642582" y="5150486"/>
              <a:ext cx="1158439" cy="1266242"/>
            </a:xfrm>
            <a:custGeom>
              <a:avLst/>
              <a:gdLst>
                <a:gd name="connsiteX0" fmla="*/ 2462596 w 4662375"/>
                <a:gd name="connsiteY0" fmla="*/ 2915589 h 5096249"/>
                <a:gd name="connsiteX1" fmla="*/ 2462596 w 4662375"/>
                <a:gd name="connsiteY1" fmla="*/ 0 h 5096249"/>
                <a:gd name="connsiteX2" fmla="*/ 2531896 w 4662375"/>
                <a:gd name="connsiteY2" fmla="*/ 0 h 5096249"/>
                <a:gd name="connsiteX3" fmla="*/ 2642482 w 4662375"/>
                <a:gd name="connsiteY3" fmla="*/ 0 h 5096249"/>
                <a:gd name="connsiteX4" fmla="*/ 4010268 w 4662375"/>
                <a:gd name="connsiteY4" fmla="*/ 0 h 5096249"/>
                <a:gd name="connsiteX5" fmla="*/ 4010268 w 4662375"/>
                <a:gd name="connsiteY5" fmla="*/ 914400 h 5096249"/>
                <a:gd name="connsiteX6" fmla="*/ 4362570 w 4662375"/>
                <a:gd name="connsiteY6" fmla="*/ 914400 h 5096249"/>
                <a:gd name="connsiteX7" fmla="*/ 4362570 w 4662375"/>
                <a:gd name="connsiteY7" fmla="*/ 0 h 5096249"/>
                <a:gd name="connsiteX8" fmla="*/ 4662373 w 4662375"/>
                <a:gd name="connsiteY8" fmla="*/ 0 h 5096249"/>
                <a:gd name="connsiteX9" fmla="*/ 4662373 w 4662375"/>
                <a:gd name="connsiteY9" fmla="*/ 1978702 h 5096249"/>
                <a:gd name="connsiteX10" fmla="*/ 4362570 w 4662375"/>
                <a:gd name="connsiteY10" fmla="*/ 1978702 h 5096249"/>
                <a:gd name="connsiteX11" fmla="*/ 4362570 w 4662375"/>
                <a:gd name="connsiteY11" fmla="*/ 1210188 h 5096249"/>
                <a:gd name="connsiteX12" fmla="*/ 4010268 w 4662375"/>
                <a:gd name="connsiteY12" fmla="*/ 1210188 h 5096249"/>
                <a:gd name="connsiteX13" fmla="*/ 4010268 w 4662375"/>
                <a:gd name="connsiteY13" fmla="*/ 1978702 h 5096249"/>
                <a:gd name="connsiteX14" fmla="*/ 2642482 w 4662375"/>
                <a:gd name="connsiteY14" fmla="*/ 1978702 h 5096249"/>
                <a:gd name="connsiteX15" fmla="*/ 2642482 w 4662375"/>
                <a:gd name="connsiteY15" fmla="*/ 2915589 h 5096249"/>
                <a:gd name="connsiteX16" fmla="*/ 2246903 w 4662375"/>
                <a:gd name="connsiteY16" fmla="*/ 2231773 h 5096249"/>
                <a:gd name="connsiteX17" fmla="*/ 2246903 w 4662375"/>
                <a:gd name="connsiteY17" fmla="*/ 1197450 h 5096249"/>
                <a:gd name="connsiteX18" fmla="*/ 2295311 w 4662375"/>
                <a:gd name="connsiteY18" fmla="*/ 1197450 h 5096249"/>
                <a:gd name="connsiteX19" fmla="*/ 2295311 w 4662375"/>
                <a:gd name="connsiteY19" fmla="*/ 2231773 h 5096249"/>
                <a:gd name="connsiteX20" fmla="*/ 1831883 w 4662375"/>
                <a:gd name="connsiteY20" fmla="*/ 4957395 h 5096249"/>
                <a:gd name="connsiteX21" fmla="*/ 1968087 w 4662375"/>
                <a:gd name="connsiteY21" fmla="*/ 4761982 h 5096249"/>
                <a:gd name="connsiteX22" fmla="*/ 2990273 w 4662375"/>
                <a:gd name="connsiteY22" fmla="*/ 4565477 h 5096249"/>
                <a:gd name="connsiteX23" fmla="*/ 3450290 w 4662375"/>
                <a:gd name="connsiteY23" fmla="*/ 4139006 h 5096249"/>
                <a:gd name="connsiteX24" fmla="*/ 3450400 w 4662375"/>
                <a:gd name="connsiteY24" fmla="*/ 3418946 h 5096249"/>
                <a:gd name="connsiteX25" fmla="*/ 3591935 w 4662375"/>
                <a:gd name="connsiteY25" fmla="*/ 3252896 h 5096249"/>
                <a:gd name="connsiteX26" fmla="*/ 3752873 w 4662375"/>
                <a:gd name="connsiteY26" fmla="*/ 3411334 h 5096249"/>
                <a:gd name="connsiteX27" fmla="*/ 3757871 w 4662375"/>
                <a:gd name="connsiteY27" fmla="*/ 4153764 h 5096249"/>
                <a:gd name="connsiteX28" fmla="*/ 3050372 w 4662375"/>
                <a:gd name="connsiteY28" fmla="*/ 4925758 h 5096249"/>
                <a:gd name="connsiteX29" fmla="*/ 2027297 w 4662375"/>
                <a:gd name="connsiteY29" fmla="*/ 5093599 h 5096249"/>
                <a:gd name="connsiteX30" fmla="*/ 1831883 w 4662375"/>
                <a:gd name="connsiteY30" fmla="*/ 4957395 h 5096249"/>
                <a:gd name="connsiteX31" fmla="*/ 1297569 w 4662375"/>
                <a:gd name="connsiteY31" fmla="*/ 872148 h 5096249"/>
                <a:gd name="connsiteX32" fmla="*/ 1312355 w 4662375"/>
                <a:gd name="connsiteY32" fmla="*/ 828885 h 5096249"/>
                <a:gd name="connsiteX33" fmla="*/ 2264140 w 4662375"/>
                <a:gd name="connsiteY33" fmla="*/ 1154184 h 5096249"/>
                <a:gd name="connsiteX34" fmla="*/ 2249353 w 4662375"/>
                <a:gd name="connsiteY34" fmla="*/ 1197447 h 5096249"/>
                <a:gd name="connsiteX35" fmla="*/ 1112327 w 4662375"/>
                <a:gd name="connsiteY35" fmla="*/ 3702486 h 5096249"/>
                <a:gd name="connsiteX36" fmla="*/ 1192279 w 4662375"/>
                <a:gd name="connsiteY36" fmla="*/ 3340014 h 5096249"/>
                <a:gd name="connsiteX37" fmla="*/ 1700044 w 4662375"/>
                <a:gd name="connsiteY37" fmla="*/ 3031967 h 5096249"/>
                <a:gd name="connsiteX38" fmla="*/ 1820205 w 4662375"/>
                <a:gd name="connsiteY38" fmla="*/ 3061384 h 5096249"/>
                <a:gd name="connsiteX39" fmla="*/ 1829233 w 4662375"/>
                <a:gd name="connsiteY39" fmla="*/ 3064583 h 5096249"/>
                <a:gd name="connsiteX40" fmla="*/ 1829233 w 4662375"/>
                <a:gd name="connsiteY40" fmla="*/ 2449020 h 5096249"/>
                <a:gd name="connsiteX41" fmla="*/ 2059707 w 4662375"/>
                <a:gd name="connsiteY41" fmla="*/ 2218546 h 5096249"/>
                <a:gd name="connsiteX42" fmla="*/ 2290181 w 4662375"/>
                <a:gd name="connsiteY42" fmla="*/ 2449020 h 5096249"/>
                <a:gd name="connsiteX43" fmla="*/ 2290181 w 4662375"/>
                <a:gd name="connsiteY43" fmla="*/ 3352274 h 5096249"/>
                <a:gd name="connsiteX44" fmla="*/ 2736137 w 4662375"/>
                <a:gd name="connsiteY44" fmla="*/ 3461449 h 5096249"/>
                <a:gd name="connsiteX45" fmla="*/ 2736137 w 4662375"/>
                <a:gd name="connsiteY45" fmla="*/ 2720716 h 5096249"/>
                <a:gd name="connsiteX46" fmla="*/ 3058426 w 4662375"/>
                <a:gd name="connsiteY46" fmla="*/ 2398427 h 5096249"/>
                <a:gd name="connsiteX47" fmla="*/ 3077159 w 4662375"/>
                <a:gd name="connsiteY47" fmla="*/ 2400315 h 5096249"/>
                <a:gd name="connsiteX48" fmla="*/ 3095902 w 4662375"/>
                <a:gd name="connsiteY48" fmla="*/ 2398426 h 5096249"/>
                <a:gd name="connsiteX49" fmla="*/ 4340086 w 4662375"/>
                <a:gd name="connsiteY49" fmla="*/ 2398427 h 5096249"/>
                <a:gd name="connsiteX50" fmla="*/ 4662375 w 4662375"/>
                <a:gd name="connsiteY50" fmla="*/ 2720716 h 5096249"/>
                <a:gd name="connsiteX51" fmla="*/ 4662374 w 4662375"/>
                <a:gd name="connsiteY51" fmla="*/ 2720715 h 5096249"/>
                <a:gd name="connsiteX52" fmla="*/ 4340085 w 4662375"/>
                <a:gd name="connsiteY52" fmla="*/ 3043004 h 5096249"/>
                <a:gd name="connsiteX53" fmla="*/ 3380715 w 4662375"/>
                <a:gd name="connsiteY53" fmla="*/ 3043004 h 5096249"/>
                <a:gd name="connsiteX54" fmla="*/ 3380714 w 4662375"/>
                <a:gd name="connsiteY54" fmla="*/ 3964900 h 5096249"/>
                <a:gd name="connsiteX55" fmla="*/ 3377595 w 4662375"/>
                <a:gd name="connsiteY55" fmla="*/ 3995841 h 5096249"/>
                <a:gd name="connsiteX56" fmla="*/ 3378993 w 4662375"/>
                <a:gd name="connsiteY56" fmla="*/ 4018774 h 5096249"/>
                <a:gd name="connsiteX57" fmla="*/ 3365279 w 4662375"/>
                <a:gd name="connsiteY57" fmla="*/ 4116364 h 5096249"/>
                <a:gd name="connsiteX58" fmla="*/ 3365278 w 4662375"/>
                <a:gd name="connsiteY58" fmla="*/ 4116363 h 5096249"/>
                <a:gd name="connsiteX59" fmla="*/ 2777015 w 4662375"/>
                <a:gd name="connsiteY59" fmla="*/ 4473245 h 5096249"/>
                <a:gd name="connsiteX60" fmla="*/ 1488622 w 4662375"/>
                <a:gd name="connsiteY60" fmla="*/ 4157835 h 5096249"/>
                <a:gd name="connsiteX61" fmla="*/ 1313766 w 4662375"/>
                <a:gd name="connsiteY61" fmla="*/ 4075666 h 5096249"/>
                <a:gd name="connsiteX62" fmla="*/ 1310326 w 4662375"/>
                <a:gd name="connsiteY62" fmla="*/ 4072541 h 5096249"/>
                <a:gd name="connsiteX63" fmla="*/ 1281283 w 4662375"/>
                <a:gd name="connsiteY63" fmla="*/ 4055089 h 5096249"/>
                <a:gd name="connsiteX64" fmla="*/ 1112327 w 4662375"/>
                <a:gd name="connsiteY64" fmla="*/ 3702486 h 5096249"/>
                <a:gd name="connsiteX65" fmla="*/ 0 w 4662375"/>
                <a:gd name="connsiteY65" fmla="*/ 3462729 h 5096249"/>
                <a:gd name="connsiteX66" fmla="*/ 539971 w 4662375"/>
                <a:gd name="connsiteY66" fmla="*/ 2915589 h 5096249"/>
                <a:gd name="connsiteX67" fmla="*/ 1079942 w 4662375"/>
                <a:gd name="connsiteY67" fmla="*/ 3462729 h 5096249"/>
                <a:gd name="connsiteX68" fmla="*/ 539971 w 4662375"/>
                <a:gd name="connsiteY68" fmla="*/ 4009869 h 5096249"/>
                <a:gd name="connsiteX69" fmla="*/ 0 w 4662375"/>
                <a:gd name="connsiteY69" fmla="*/ 3462729 h 509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62375" h="5096249">
                  <a:moveTo>
                    <a:pt x="2462596" y="2915589"/>
                  </a:moveTo>
                  <a:lnTo>
                    <a:pt x="2462596" y="0"/>
                  </a:lnTo>
                  <a:lnTo>
                    <a:pt x="2531896" y="0"/>
                  </a:lnTo>
                  <a:lnTo>
                    <a:pt x="2642482" y="0"/>
                  </a:lnTo>
                  <a:lnTo>
                    <a:pt x="4010268" y="0"/>
                  </a:lnTo>
                  <a:lnTo>
                    <a:pt x="4010268" y="914400"/>
                  </a:lnTo>
                  <a:lnTo>
                    <a:pt x="4362570" y="914400"/>
                  </a:lnTo>
                  <a:lnTo>
                    <a:pt x="4362570" y="0"/>
                  </a:lnTo>
                  <a:lnTo>
                    <a:pt x="4662373" y="0"/>
                  </a:lnTo>
                  <a:lnTo>
                    <a:pt x="4662373" y="1978702"/>
                  </a:lnTo>
                  <a:lnTo>
                    <a:pt x="4362570" y="1978702"/>
                  </a:lnTo>
                  <a:lnTo>
                    <a:pt x="4362570" y="1210188"/>
                  </a:lnTo>
                  <a:lnTo>
                    <a:pt x="4010268" y="1210188"/>
                  </a:lnTo>
                  <a:lnTo>
                    <a:pt x="4010268" y="1978702"/>
                  </a:lnTo>
                  <a:lnTo>
                    <a:pt x="2642482" y="1978702"/>
                  </a:lnTo>
                  <a:lnTo>
                    <a:pt x="2642482" y="2915589"/>
                  </a:lnTo>
                  <a:close/>
                  <a:moveTo>
                    <a:pt x="2246903" y="2231773"/>
                  </a:moveTo>
                  <a:lnTo>
                    <a:pt x="2246903" y="1197450"/>
                  </a:lnTo>
                  <a:lnTo>
                    <a:pt x="2295311" y="1197450"/>
                  </a:lnTo>
                  <a:lnTo>
                    <a:pt x="2295311" y="2231773"/>
                  </a:lnTo>
                  <a:close/>
                  <a:moveTo>
                    <a:pt x="1831883" y="4957395"/>
                  </a:moveTo>
                  <a:cubicBezTo>
                    <a:pt x="1815533" y="4865823"/>
                    <a:pt x="1876514" y="4778333"/>
                    <a:pt x="1968087" y="4761982"/>
                  </a:cubicBezTo>
                  <a:cubicBezTo>
                    <a:pt x="2369609" y="4684821"/>
                    <a:pt x="2593748" y="4662625"/>
                    <a:pt x="2990273" y="4565477"/>
                  </a:cubicBezTo>
                  <a:cubicBezTo>
                    <a:pt x="3183822" y="4529006"/>
                    <a:pt x="3439126" y="4352859"/>
                    <a:pt x="3450290" y="4139006"/>
                  </a:cubicBezTo>
                  <a:cubicBezTo>
                    <a:pt x="3450289" y="3897359"/>
                    <a:pt x="3450401" y="3660593"/>
                    <a:pt x="3450400" y="3418946"/>
                  </a:cubicBezTo>
                  <a:cubicBezTo>
                    <a:pt x="3450400" y="3325924"/>
                    <a:pt x="3541523" y="3254165"/>
                    <a:pt x="3591935" y="3252896"/>
                  </a:cubicBezTo>
                  <a:cubicBezTo>
                    <a:pt x="3642347" y="3251627"/>
                    <a:pt x="3752873" y="3318312"/>
                    <a:pt x="3752873" y="3411334"/>
                  </a:cubicBezTo>
                  <a:cubicBezTo>
                    <a:pt x="3752874" y="3701283"/>
                    <a:pt x="3757870" y="3863815"/>
                    <a:pt x="3757871" y="4153764"/>
                  </a:cubicBezTo>
                  <a:cubicBezTo>
                    <a:pt x="3757645" y="4483547"/>
                    <a:pt x="3421664" y="4841987"/>
                    <a:pt x="3050372" y="4925758"/>
                  </a:cubicBezTo>
                  <a:lnTo>
                    <a:pt x="2027297" y="5093599"/>
                  </a:lnTo>
                  <a:cubicBezTo>
                    <a:pt x="1935723" y="5109950"/>
                    <a:pt x="1848234" y="5048969"/>
                    <a:pt x="1831883" y="4957395"/>
                  </a:cubicBezTo>
                  <a:close/>
                  <a:moveTo>
                    <a:pt x="1297569" y="872148"/>
                  </a:moveTo>
                  <a:lnTo>
                    <a:pt x="1312355" y="828885"/>
                  </a:lnTo>
                  <a:lnTo>
                    <a:pt x="2264140" y="1154184"/>
                  </a:lnTo>
                  <a:lnTo>
                    <a:pt x="2249353" y="1197447"/>
                  </a:lnTo>
                  <a:close/>
                  <a:moveTo>
                    <a:pt x="1112327" y="3702486"/>
                  </a:moveTo>
                  <a:cubicBezTo>
                    <a:pt x="1117495" y="3571878"/>
                    <a:pt x="1140047" y="3463198"/>
                    <a:pt x="1192279" y="3340014"/>
                  </a:cubicBezTo>
                  <a:cubicBezTo>
                    <a:pt x="1276006" y="3129021"/>
                    <a:pt x="1474764" y="2976816"/>
                    <a:pt x="1700044" y="3031967"/>
                  </a:cubicBezTo>
                  <a:lnTo>
                    <a:pt x="1820205" y="3061384"/>
                  </a:lnTo>
                  <a:lnTo>
                    <a:pt x="1829233" y="3064583"/>
                  </a:lnTo>
                  <a:lnTo>
                    <a:pt x="1829233" y="2449020"/>
                  </a:lnTo>
                  <a:cubicBezTo>
                    <a:pt x="1829233" y="2321733"/>
                    <a:pt x="1932420" y="2218546"/>
                    <a:pt x="2059707" y="2218546"/>
                  </a:cubicBezTo>
                  <a:cubicBezTo>
                    <a:pt x="2186994" y="2218546"/>
                    <a:pt x="2290181" y="2321733"/>
                    <a:pt x="2290181" y="2449020"/>
                  </a:cubicBezTo>
                  <a:lnTo>
                    <a:pt x="2290181" y="3352274"/>
                  </a:lnTo>
                  <a:lnTo>
                    <a:pt x="2736137" y="3461449"/>
                  </a:lnTo>
                  <a:lnTo>
                    <a:pt x="2736137" y="2720716"/>
                  </a:lnTo>
                  <a:cubicBezTo>
                    <a:pt x="2736137" y="2542721"/>
                    <a:pt x="2880431" y="2398427"/>
                    <a:pt x="3058426" y="2398427"/>
                  </a:cubicBezTo>
                  <a:lnTo>
                    <a:pt x="3077159" y="2400315"/>
                  </a:lnTo>
                  <a:lnTo>
                    <a:pt x="3095902" y="2398426"/>
                  </a:lnTo>
                  <a:cubicBezTo>
                    <a:pt x="3510630" y="2398426"/>
                    <a:pt x="3925358" y="2398427"/>
                    <a:pt x="4340086" y="2398427"/>
                  </a:cubicBezTo>
                  <a:cubicBezTo>
                    <a:pt x="4518081" y="2398427"/>
                    <a:pt x="4662375" y="2542721"/>
                    <a:pt x="4662375" y="2720716"/>
                  </a:cubicBezTo>
                  <a:lnTo>
                    <a:pt x="4662374" y="2720715"/>
                  </a:lnTo>
                  <a:cubicBezTo>
                    <a:pt x="4662374" y="2898710"/>
                    <a:pt x="4518080" y="3043004"/>
                    <a:pt x="4340085" y="3043004"/>
                  </a:cubicBezTo>
                  <a:lnTo>
                    <a:pt x="3380715" y="3043004"/>
                  </a:lnTo>
                  <a:lnTo>
                    <a:pt x="3380714" y="3964900"/>
                  </a:lnTo>
                  <a:lnTo>
                    <a:pt x="3377595" y="3995841"/>
                  </a:lnTo>
                  <a:lnTo>
                    <a:pt x="3378993" y="4018774"/>
                  </a:lnTo>
                  <a:cubicBezTo>
                    <a:pt x="3377757" y="4051078"/>
                    <a:pt x="3373265" y="4083740"/>
                    <a:pt x="3365279" y="4116364"/>
                  </a:cubicBezTo>
                  <a:lnTo>
                    <a:pt x="3365278" y="4116363"/>
                  </a:lnTo>
                  <a:cubicBezTo>
                    <a:pt x="3301384" y="4377357"/>
                    <a:pt x="3038009" y="4537139"/>
                    <a:pt x="2777015" y="4473245"/>
                  </a:cubicBezTo>
                  <a:lnTo>
                    <a:pt x="1488622" y="4157835"/>
                  </a:lnTo>
                  <a:cubicBezTo>
                    <a:pt x="1423373" y="4141861"/>
                    <a:pt x="1364449" y="4113420"/>
                    <a:pt x="1313766" y="4075666"/>
                  </a:cubicBezTo>
                  <a:lnTo>
                    <a:pt x="1310326" y="4072541"/>
                  </a:lnTo>
                  <a:lnTo>
                    <a:pt x="1281283" y="4055089"/>
                  </a:lnTo>
                  <a:cubicBezTo>
                    <a:pt x="1171913" y="3973620"/>
                    <a:pt x="1112707" y="3841905"/>
                    <a:pt x="1112327" y="3702486"/>
                  </a:cubicBezTo>
                  <a:close/>
                  <a:moveTo>
                    <a:pt x="0" y="3462729"/>
                  </a:moveTo>
                  <a:cubicBezTo>
                    <a:pt x="0" y="3160552"/>
                    <a:pt x="241753" y="2915589"/>
                    <a:pt x="539971" y="2915589"/>
                  </a:cubicBezTo>
                  <a:cubicBezTo>
                    <a:pt x="838189" y="2915589"/>
                    <a:pt x="1079942" y="3160552"/>
                    <a:pt x="1079942" y="3462729"/>
                  </a:cubicBezTo>
                  <a:cubicBezTo>
                    <a:pt x="1079942" y="3764906"/>
                    <a:pt x="838189" y="4009869"/>
                    <a:pt x="539971" y="4009869"/>
                  </a:cubicBezTo>
                  <a:cubicBezTo>
                    <a:pt x="241753" y="4009869"/>
                    <a:pt x="0" y="3764906"/>
                    <a:pt x="0" y="3462729"/>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1818858" y="4823492"/>
              <a:ext cx="1996342" cy="369385"/>
            </a:xfrm>
            <a:prstGeom prst="rect">
              <a:avLst/>
            </a:prstGeom>
          </p:spPr>
          <p:txBody>
            <a:bodyPr wrap="none">
              <a:spAutoFit/>
            </a:bodyPr>
            <a:lstStyle/>
            <a:p>
              <a:pPr defTabSz="914225"/>
              <a:r>
                <a:rPr lang="en-US" b="1" dirty="0">
                  <a:solidFill>
                    <a:srgbClr val="7FBA00"/>
                  </a:solidFill>
                  <a:latin typeface="Segoe UI"/>
                </a:rPr>
                <a:t>Business planner</a:t>
              </a:r>
            </a:p>
          </p:txBody>
        </p:sp>
      </p:grpSp>
      <p:grpSp>
        <p:nvGrpSpPr>
          <p:cNvPr id="31" name="Field worker"/>
          <p:cNvGrpSpPr/>
          <p:nvPr/>
        </p:nvGrpSpPr>
        <p:grpSpPr>
          <a:xfrm>
            <a:off x="607739" y="1465715"/>
            <a:ext cx="2985800" cy="2018091"/>
            <a:chOff x="606961" y="1465436"/>
            <a:chExt cx="2986224" cy="2018377"/>
          </a:xfrm>
        </p:grpSpPr>
        <p:grpSp>
          <p:nvGrpSpPr>
            <p:cNvPr id="29" name="Field worker"/>
            <p:cNvGrpSpPr/>
            <p:nvPr/>
          </p:nvGrpSpPr>
          <p:grpSpPr>
            <a:xfrm>
              <a:off x="606961" y="1465436"/>
              <a:ext cx="2986224" cy="2018377"/>
              <a:chOff x="606961" y="1465436"/>
              <a:chExt cx="2986224" cy="2018377"/>
            </a:xfrm>
          </p:grpSpPr>
          <p:grpSp>
            <p:nvGrpSpPr>
              <p:cNvPr id="28" name="Group 27"/>
              <p:cNvGrpSpPr/>
              <p:nvPr/>
            </p:nvGrpSpPr>
            <p:grpSpPr>
              <a:xfrm>
                <a:off x="606961" y="1984979"/>
                <a:ext cx="2986224" cy="1498834"/>
                <a:chOff x="606961" y="1984979"/>
                <a:chExt cx="2986224" cy="1498834"/>
              </a:xfrm>
            </p:grpSpPr>
            <p:sp>
              <p:nvSpPr>
                <p:cNvPr id="126" name="Freeform 125"/>
                <p:cNvSpPr>
                  <a:spLocks/>
                </p:cNvSpPr>
                <p:nvPr/>
              </p:nvSpPr>
              <p:spPr bwMode="auto">
                <a:xfrm>
                  <a:off x="606961" y="2010909"/>
                  <a:ext cx="889061" cy="1472904"/>
                </a:xfrm>
                <a:custGeom>
                  <a:avLst/>
                  <a:gdLst>
                    <a:gd name="connsiteX0" fmla="*/ 1139826 w 1220788"/>
                    <a:gd name="connsiteY0" fmla="*/ 347663 h 2022476"/>
                    <a:gd name="connsiteX1" fmla="*/ 1166813 w 1220788"/>
                    <a:gd name="connsiteY1" fmla="*/ 354013 h 2022476"/>
                    <a:gd name="connsiteX2" fmla="*/ 1190626 w 1220788"/>
                    <a:gd name="connsiteY2" fmla="*/ 369888 h 2022476"/>
                    <a:gd name="connsiteX3" fmla="*/ 1209676 w 1220788"/>
                    <a:gd name="connsiteY3" fmla="*/ 390526 h 2022476"/>
                    <a:gd name="connsiteX4" fmla="*/ 1219201 w 1220788"/>
                    <a:gd name="connsiteY4" fmla="*/ 414338 h 2022476"/>
                    <a:gd name="connsiteX5" fmla="*/ 1220788 w 1220788"/>
                    <a:gd name="connsiteY5" fmla="*/ 442913 h 2022476"/>
                    <a:gd name="connsiteX6" fmla="*/ 1214438 w 1220788"/>
                    <a:gd name="connsiteY6" fmla="*/ 469901 h 2022476"/>
                    <a:gd name="connsiteX7" fmla="*/ 1200151 w 1220788"/>
                    <a:gd name="connsiteY7" fmla="*/ 495301 h 2022476"/>
                    <a:gd name="connsiteX8" fmla="*/ 952501 w 1220788"/>
                    <a:gd name="connsiteY8" fmla="*/ 742951 h 2022476"/>
                    <a:gd name="connsiteX9" fmla="*/ 935038 w 1220788"/>
                    <a:gd name="connsiteY9" fmla="*/ 757238 h 2022476"/>
                    <a:gd name="connsiteX10" fmla="*/ 912813 w 1220788"/>
                    <a:gd name="connsiteY10" fmla="*/ 768351 h 2022476"/>
                    <a:gd name="connsiteX11" fmla="*/ 887413 w 1220788"/>
                    <a:gd name="connsiteY11" fmla="*/ 771526 h 2022476"/>
                    <a:gd name="connsiteX12" fmla="*/ 860426 w 1220788"/>
                    <a:gd name="connsiteY12" fmla="*/ 766763 h 2022476"/>
                    <a:gd name="connsiteX13" fmla="*/ 835026 w 1220788"/>
                    <a:gd name="connsiteY13" fmla="*/ 755651 h 2022476"/>
                    <a:gd name="connsiteX14" fmla="*/ 673100 w 1220788"/>
                    <a:gd name="connsiteY14" fmla="*/ 666751 h 2022476"/>
                    <a:gd name="connsiteX15" fmla="*/ 673100 w 1220788"/>
                    <a:gd name="connsiteY15" fmla="*/ 1104901 h 2022476"/>
                    <a:gd name="connsiteX16" fmla="*/ 922338 w 1220788"/>
                    <a:gd name="connsiteY16" fmla="*/ 1865314 h 2022476"/>
                    <a:gd name="connsiteX17" fmla="*/ 925513 w 1220788"/>
                    <a:gd name="connsiteY17" fmla="*/ 1898651 h 2022476"/>
                    <a:gd name="connsiteX18" fmla="*/ 922338 w 1220788"/>
                    <a:gd name="connsiteY18" fmla="*/ 1930401 h 2022476"/>
                    <a:gd name="connsiteX19" fmla="*/ 908051 w 1220788"/>
                    <a:gd name="connsiteY19" fmla="*/ 1958976 h 2022476"/>
                    <a:gd name="connsiteX20" fmla="*/ 890588 w 1220788"/>
                    <a:gd name="connsiteY20" fmla="*/ 1985964 h 2022476"/>
                    <a:gd name="connsiteX21" fmla="*/ 865188 w 1220788"/>
                    <a:gd name="connsiteY21" fmla="*/ 2005014 h 2022476"/>
                    <a:gd name="connsiteX22" fmla="*/ 835026 w 1220788"/>
                    <a:gd name="connsiteY22" fmla="*/ 2016126 h 2022476"/>
                    <a:gd name="connsiteX23" fmla="*/ 801688 w 1220788"/>
                    <a:gd name="connsiteY23" fmla="*/ 2020889 h 2022476"/>
                    <a:gd name="connsiteX24" fmla="*/ 768351 w 1220788"/>
                    <a:gd name="connsiteY24" fmla="*/ 2016126 h 2022476"/>
                    <a:gd name="connsiteX25" fmla="*/ 741363 w 1220788"/>
                    <a:gd name="connsiteY25" fmla="*/ 2005014 h 2022476"/>
                    <a:gd name="connsiteX26" fmla="*/ 714376 w 1220788"/>
                    <a:gd name="connsiteY26" fmla="*/ 1985964 h 2022476"/>
                    <a:gd name="connsiteX27" fmla="*/ 695326 w 1220788"/>
                    <a:gd name="connsiteY27" fmla="*/ 1958976 h 2022476"/>
                    <a:gd name="connsiteX28" fmla="*/ 681038 w 1220788"/>
                    <a:gd name="connsiteY28" fmla="*/ 1928814 h 2022476"/>
                    <a:gd name="connsiteX29" fmla="*/ 465138 w 1220788"/>
                    <a:gd name="connsiteY29" fmla="*/ 1273176 h 2022476"/>
                    <a:gd name="connsiteX30" fmla="*/ 242888 w 1220788"/>
                    <a:gd name="connsiteY30" fmla="*/ 1930401 h 2022476"/>
                    <a:gd name="connsiteX31" fmla="*/ 231775 w 1220788"/>
                    <a:gd name="connsiteY31" fmla="*/ 1960564 h 2022476"/>
                    <a:gd name="connsiteX32" fmla="*/ 211138 w 1220788"/>
                    <a:gd name="connsiteY32" fmla="*/ 1987551 h 2022476"/>
                    <a:gd name="connsiteX33" fmla="*/ 185738 w 1220788"/>
                    <a:gd name="connsiteY33" fmla="*/ 2006601 h 2022476"/>
                    <a:gd name="connsiteX34" fmla="*/ 157163 w 1220788"/>
                    <a:gd name="connsiteY34" fmla="*/ 2017714 h 2022476"/>
                    <a:gd name="connsiteX35" fmla="*/ 123825 w 1220788"/>
                    <a:gd name="connsiteY35" fmla="*/ 2022476 h 2022476"/>
                    <a:gd name="connsiteX36" fmla="*/ 92075 w 1220788"/>
                    <a:gd name="connsiteY36" fmla="*/ 2017714 h 2022476"/>
                    <a:gd name="connsiteX37" fmla="*/ 60325 w 1220788"/>
                    <a:gd name="connsiteY37" fmla="*/ 2005014 h 2022476"/>
                    <a:gd name="connsiteX38" fmla="*/ 34925 w 1220788"/>
                    <a:gd name="connsiteY38" fmla="*/ 1985964 h 2022476"/>
                    <a:gd name="connsiteX39" fmla="*/ 15875 w 1220788"/>
                    <a:gd name="connsiteY39" fmla="*/ 1960564 h 2022476"/>
                    <a:gd name="connsiteX40" fmla="*/ 4763 w 1220788"/>
                    <a:gd name="connsiteY40" fmla="*/ 1930401 h 2022476"/>
                    <a:gd name="connsiteX41" fmla="*/ 0 w 1220788"/>
                    <a:gd name="connsiteY41" fmla="*/ 1900239 h 2022476"/>
                    <a:gd name="connsiteX42" fmla="*/ 4763 w 1220788"/>
                    <a:gd name="connsiteY42" fmla="*/ 1866901 h 2022476"/>
                    <a:gd name="connsiteX43" fmla="*/ 250825 w 1220788"/>
                    <a:gd name="connsiteY43" fmla="*/ 1117601 h 2022476"/>
                    <a:gd name="connsiteX44" fmla="*/ 250825 w 1220788"/>
                    <a:gd name="connsiteY44" fmla="*/ 519113 h 2022476"/>
                    <a:gd name="connsiteX45" fmla="*/ 254000 w 1220788"/>
                    <a:gd name="connsiteY45" fmla="*/ 493713 h 2022476"/>
                    <a:gd name="connsiteX46" fmla="*/ 261938 w 1220788"/>
                    <a:gd name="connsiteY46" fmla="*/ 474663 h 2022476"/>
                    <a:gd name="connsiteX47" fmla="*/ 274638 w 1220788"/>
                    <a:gd name="connsiteY47" fmla="*/ 460376 h 2022476"/>
                    <a:gd name="connsiteX48" fmla="*/ 288925 w 1220788"/>
                    <a:gd name="connsiteY48" fmla="*/ 452438 h 2022476"/>
                    <a:gd name="connsiteX49" fmla="*/ 303213 w 1220788"/>
                    <a:gd name="connsiteY49" fmla="*/ 447676 h 2022476"/>
                    <a:gd name="connsiteX50" fmla="*/ 315913 w 1220788"/>
                    <a:gd name="connsiteY50" fmla="*/ 446088 h 2022476"/>
                    <a:gd name="connsiteX51" fmla="*/ 325438 w 1220788"/>
                    <a:gd name="connsiteY51" fmla="*/ 446088 h 2022476"/>
                    <a:gd name="connsiteX52" fmla="*/ 327025 w 1220788"/>
                    <a:gd name="connsiteY52" fmla="*/ 446088 h 2022476"/>
                    <a:gd name="connsiteX53" fmla="*/ 646113 w 1220788"/>
                    <a:gd name="connsiteY53" fmla="*/ 446088 h 2022476"/>
                    <a:gd name="connsiteX54" fmla="*/ 649288 w 1220788"/>
                    <a:gd name="connsiteY54" fmla="*/ 446088 h 2022476"/>
                    <a:gd name="connsiteX55" fmla="*/ 657225 w 1220788"/>
                    <a:gd name="connsiteY55" fmla="*/ 446088 h 2022476"/>
                    <a:gd name="connsiteX56" fmla="*/ 669925 w 1220788"/>
                    <a:gd name="connsiteY56" fmla="*/ 452438 h 2022476"/>
                    <a:gd name="connsiteX57" fmla="*/ 687388 w 1220788"/>
                    <a:gd name="connsiteY57" fmla="*/ 465138 h 2022476"/>
                    <a:gd name="connsiteX58" fmla="*/ 873126 w 1220788"/>
                    <a:gd name="connsiteY58" fmla="*/ 571501 h 2022476"/>
                    <a:gd name="connsiteX59" fmla="*/ 1066801 w 1220788"/>
                    <a:gd name="connsiteY59" fmla="*/ 379413 h 2022476"/>
                    <a:gd name="connsiteX60" fmla="*/ 1087438 w 1220788"/>
                    <a:gd name="connsiteY60" fmla="*/ 360363 h 2022476"/>
                    <a:gd name="connsiteX61" fmla="*/ 1114426 w 1220788"/>
                    <a:gd name="connsiteY61" fmla="*/ 349251 h 2022476"/>
                    <a:gd name="connsiteX62" fmla="*/ 307975 w 1220788"/>
                    <a:gd name="connsiteY62" fmla="*/ 228600 h 2022476"/>
                    <a:gd name="connsiteX63" fmla="*/ 627063 w 1220788"/>
                    <a:gd name="connsiteY63" fmla="*/ 228600 h 2022476"/>
                    <a:gd name="connsiteX64" fmla="*/ 622301 w 1220788"/>
                    <a:gd name="connsiteY64" fmla="*/ 268287 h 2022476"/>
                    <a:gd name="connsiteX65" fmla="*/ 609601 w 1220788"/>
                    <a:gd name="connsiteY65" fmla="*/ 303212 h 2022476"/>
                    <a:gd name="connsiteX66" fmla="*/ 587376 w 1220788"/>
                    <a:gd name="connsiteY66" fmla="*/ 336550 h 2022476"/>
                    <a:gd name="connsiteX67" fmla="*/ 558801 w 1220788"/>
                    <a:gd name="connsiteY67" fmla="*/ 361950 h 2022476"/>
                    <a:gd name="connsiteX68" fmla="*/ 522288 w 1220788"/>
                    <a:gd name="connsiteY68" fmla="*/ 382588 h 2022476"/>
                    <a:gd name="connsiteX69" fmla="*/ 481013 w 1220788"/>
                    <a:gd name="connsiteY69" fmla="*/ 390525 h 2022476"/>
                    <a:gd name="connsiteX70" fmla="*/ 439738 w 1220788"/>
                    <a:gd name="connsiteY70" fmla="*/ 388938 h 2022476"/>
                    <a:gd name="connsiteX71" fmla="*/ 401638 w 1220788"/>
                    <a:gd name="connsiteY71" fmla="*/ 377825 h 2022476"/>
                    <a:gd name="connsiteX72" fmla="*/ 366713 w 1220788"/>
                    <a:gd name="connsiteY72" fmla="*/ 355600 h 2022476"/>
                    <a:gd name="connsiteX73" fmla="*/ 338138 w 1220788"/>
                    <a:gd name="connsiteY73" fmla="*/ 325437 h 2022476"/>
                    <a:gd name="connsiteX74" fmla="*/ 319088 w 1220788"/>
                    <a:gd name="connsiteY74" fmla="*/ 288925 h 2022476"/>
                    <a:gd name="connsiteX75" fmla="*/ 309563 w 1220788"/>
                    <a:gd name="connsiteY75" fmla="*/ 260350 h 2022476"/>
                    <a:gd name="connsiteX76" fmla="*/ 430213 w 1220788"/>
                    <a:gd name="connsiteY76" fmla="*/ 0 h 2022476"/>
                    <a:gd name="connsiteX77" fmla="*/ 460376 w 1220788"/>
                    <a:gd name="connsiteY77" fmla="*/ 0 h 2022476"/>
                    <a:gd name="connsiteX78" fmla="*/ 492126 w 1220788"/>
                    <a:gd name="connsiteY78" fmla="*/ 4762 h 2022476"/>
                    <a:gd name="connsiteX79" fmla="*/ 517526 w 1220788"/>
                    <a:gd name="connsiteY79" fmla="*/ 12700 h 2022476"/>
                    <a:gd name="connsiteX80" fmla="*/ 539751 w 1220788"/>
                    <a:gd name="connsiteY80" fmla="*/ 22225 h 2022476"/>
                    <a:gd name="connsiteX81" fmla="*/ 552451 w 1220788"/>
                    <a:gd name="connsiteY81" fmla="*/ 28575 h 2022476"/>
                    <a:gd name="connsiteX82" fmla="*/ 563563 w 1220788"/>
                    <a:gd name="connsiteY82" fmla="*/ 36512 h 2022476"/>
                    <a:gd name="connsiteX83" fmla="*/ 576263 w 1220788"/>
                    <a:gd name="connsiteY83" fmla="*/ 58738 h 2022476"/>
                    <a:gd name="connsiteX84" fmla="*/ 592138 w 1220788"/>
                    <a:gd name="connsiteY84" fmla="*/ 85725 h 2022476"/>
                    <a:gd name="connsiteX85" fmla="*/ 608013 w 1220788"/>
                    <a:gd name="connsiteY85" fmla="*/ 114300 h 2022476"/>
                    <a:gd name="connsiteX86" fmla="*/ 620713 w 1220788"/>
                    <a:gd name="connsiteY86" fmla="*/ 139700 h 2022476"/>
                    <a:gd name="connsiteX87" fmla="*/ 633413 w 1220788"/>
                    <a:gd name="connsiteY87" fmla="*/ 163513 h 2022476"/>
                    <a:gd name="connsiteX88" fmla="*/ 644526 w 1220788"/>
                    <a:gd name="connsiteY88" fmla="*/ 176213 h 2022476"/>
                    <a:gd name="connsiteX89" fmla="*/ 660401 w 1220788"/>
                    <a:gd name="connsiteY89" fmla="*/ 184150 h 2022476"/>
                    <a:gd name="connsiteX90" fmla="*/ 677863 w 1220788"/>
                    <a:gd name="connsiteY90" fmla="*/ 190500 h 2022476"/>
                    <a:gd name="connsiteX91" fmla="*/ 696913 w 1220788"/>
                    <a:gd name="connsiteY91" fmla="*/ 193675 h 2022476"/>
                    <a:gd name="connsiteX92" fmla="*/ 712788 w 1220788"/>
                    <a:gd name="connsiteY92" fmla="*/ 196850 h 2022476"/>
                    <a:gd name="connsiteX93" fmla="*/ 715963 w 1220788"/>
                    <a:gd name="connsiteY93" fmla="*/ 196850 h 2022476"/>
                    <a:gd name="connsiteX94" fmla="*/ 719138 w 1220788"/>
                    <a:gd name="connsiteY94" fmla="*/ 211138 h 2022476"/>
                    <a:gd name="connsiteX95" fmla="*/ 625476 w 1220788"/>
                    <a:gd name="connsiteY95" fmla="*/ 211138 h 2022476"/>
                    <a:gd name="connsiteX96" fmla="*/ 561976 w 1220788"/>
                    <a:gd name="connsiteY96" fmla="*/ 211138 h 2022476"/>
                    <a:gd name="connsiteX97" fmla="*/ 268288 w 1220788"/>
                    <a:gd name="connsiteY97" fmla="*/ 214313 h 2022476"/>
                    <a:gd name="connsiteX98" fmla="*/ 268288 w 1220788"/>
                    <a:gd name="connsiteY98" fmla="*/ 198438 h 2022476"/>
                    <a:gd name="connsiteX99" fmla="*/ 271463 w 1220788"/>
                    <a:gd name="connsiteY99" fmla="*/ 198438 h 2022476"/>
                    <a:gd name="connsiteX100" fmla="*/ 274638 w 1220788"/>
                    <a:gd name="connsiteY100" fmla="*/ 196850 h 2022476"/>
                    <a:gd name="connsiteX101" fmla="*/ 279401 w 1220788"/>
                    <a:gd name="connsiteY101" fmla="*/ 193675 h 2022476"/>
                    <a:gd name="connsiteX102" fmla="*/ 285751 w 1220788"/>
                    <a:gd name="connsiteY102" fmla="*/ 190500 h 2022476"/>
                    <a:gd name="connsiteX103" fmla="*/ 290513 w 1220788"/>
                    <a:gd name="connsiteY103" fmla="*/ 184150 h 2022476"/>
                    <a:gd name="connsiteX104" fmla="*/ 296863 w 1220788"/>
                    <a:gd name="connsiteY104" fmla="*/ 176213 h 2022476"/>
                    <a:gd name="connsiteX105" fmla="*/ 301626 w 1220788"/>
                    <a:gd name="connsiteY105" fmla="*/ 166688 h 2022476"/>
                    <a:gd name="connsiteX106" fmla="*/ 303213 w 1220788"/>
                    <a:gd name="connsiteY106" fmla="*/ 149225 h 2022476"/>
                    <a:gd name="connsiteX107" fmla="*/ 307976 w 1220788"/>
                    <a:gd name="connsiteY107" fmla="*/ 127000 h 2022476"/>
                    <a:gd name="connsiteX108" fmla="*/ 314326 w 1220788"/>
                    <a:gd name="connsiteY108" fmla="*/ 100013 h 2022476"/>
                    <a:gd name="connsiteX109" fmla="*/ 323851 w 1220788"/>
                    <a:gd name="connsiteY109" fmla="*/ 71438 h 2022476"/>
                    <a:gd name="connsiteX110" fmla="*/ 341313 w 1220788"/>
                    <a:gd name="connsiteY110" fmla="*/ 46037 h 2022476"/>
                    <a:gd name="connsiteX111" fmla="*/ 365126 w 1220788"/>
                    <a:gd name="connsiteY111" fmla="*/ 23812 h 2022476"/>
                    <a:gd name="connsiteX112" fmla="*/ 396876 w 1220788"/>
                    <a:gd name="connsiteY112" fmla="*/ 6350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20788" h="2022476">
                      <a:moveTo>
                        <a:pt x="1139826" y="347663"/>
                      </a:moveTo>
                      <a:lnTo>
                        <a:pt x="1166813" y="354013"/>
                      </a:lnTo>
                      <a:lnTo>
                        <a:pt x="1190626" y="369888"/>
                      </a:lnTo>
                      <a:lnTo>
                        <a:pt x="1209676" y="390526"/>
                      </a:lnTo>
                      <a:lnTo>
                        <a:pt x="1219201" y="414338"/>
                      </a:lnTo>
                      <a:lnTo>
                        <a:pt x="1220788" y="442913"/>
                      </a:lnTo>
                      <a:lnTo>
                        <a:pt x="1214438" y="469901"/>
                      </a:lnTo>
                      <a:lnTo>
                        <a:pt x="1200151" y="495301"/>
                      </a:lnTo>
                      <a:lnTo>
                        <a:pt x="952501" y="742951"/>
                      </a:lnTo>
                      <a:lnTo>
                        <a:pt x="935038" y="757238"/>
                      </a:lnTo>
                      <a:lnTo>
                        <a:pt x="912813" y="768351"/>
                      </a:lnTo>
                      <a:lnTo>
                        <a:pt x="887413" y="771526"/>
                      </a:lnTo>
                      <a:lnTo>
                        <a:pt x="860426" y="766763"/>
                      </a:lnTo>
                      <a:lnTo>
                        <a:pt x="835026" y="755651"/>
                      </a:lnTo>
                      <a:lnTo>
                        <a:pt x="673100" y="666751"/>
                      </a:lnTo>
                      <a:lnTo>
                        <a:pt x="673100" y="1104901"/>
                      </a:lnTo>
                      <a:lnTo>
                        <a:pt x="922338" y="1865314"/>
                      </a:lnTo>
                      <a:lnTo>
                        <a:pt x="925513" y="1898651"/>
                      </a:lnTo>
                      <a:lnTo>
                        <a:pt x="922338" y="1930401"/>
                      </a:lnTo>
                      <a:lnTo>
                        <a:pt x="908051" y="1958976"/>
                      </a:lnTo>
                      <a:lnTo>
                        <a:pt x="890588" y="1985964"/>
                      </a:lnTo>
                      <a:lnTo>
                        <a:pt x="865188" y="2005014"/>
                      </a:lnTo>
                      <a:lnTo>
                        <a:pt x="835026" y="2016126"/>
                      </a:lnTo>
                      <a:lnTo>
                        <a:pt x="801688" y="2020889"/>
                      </a:lnTo>
                      <a:lnTo>
                        <a:pt x="768351" y="2016126"/>
                      </a:lnTo>
                      <a:lnTo>
                        <a:pt x="741363" y="2005014"/>
                      </a:lnTo>
                      <a:lnTo>
                        <a:pt x="714376" y="1985964"/>
                      </a:lnTo>
                      <a:lnTo>
                        <a:pt x="695326" y="1958976"/>
                      </a:lnTo>
                      <a:lnTo>
                        <a:pt x="681038" y="1928814"/>
                      </a:lnTo>
                      <a:lnTo>
                        <a:pt x="465138" y="1273176"/>
                      </a:lnTo>
                      <a:lnTo>
                        <a:pt x="242888" y="1930401"/>
                      </a:lnTo>
                      <a:lnTo>
                        <a:pt x="231775" y="1960564"/>
                      </a:lnTo>
                      <a:lnTo>
                        <a:pt x="211138" y="1987551"/>
                      </a:lnTo>
                      <a:lnTo>
                        <a:pt x="185738" y="2006601"/>
                      </a:lnTo>
                      <a:lnTo>
                        <a:pt x="157163" y="2017714"/>
                      </a:lnTo>
                      <a:lnTo>
                        <a:pt x="123825" y="2022476"/>
                      </a:lnTo>
                      <a:lnTo>
                        <a:pt x="92075" y="2017714"/>
                      </a:lnTo>
                      <a:lnTo>
                        <a:pt x="60325" y="2005014"/>
                      </a:lnTo>
                      <a:lnTo>
                        <a:pt x="34925" y="1985964"/>
                      </a:lnTo>
                      <a:lnTo>
                        <a:pt x="15875" y="1960564"/>
                      </a:lnTo>
                      <a:lnTo>
                        <a:pt x="4763" y="1930401"/>
                      </a:lnTo>
                      <a:lnTo>
                        <a:pt x="0" y="1900239"/>
                      </a:lnTo>
                      <a:lnTo>
                        <a:pt x="4763" y="1866901"/>
                      </a:lnTo>
                      <a:lnTo>
                        <a:pt x="250825" y="1117601"/>
                      </a:lnTo>
                      <a:lnTo>
                        <a:pt x="250825" y="519113"/>
                      </a:lnTo>
                      <a:lnTo>
                        <a:pt x="254000" y="493713"/>
                      </a:lnTo>
                      <a:lnTo>
                        <a:pt x="261938" y="474663"/>
                      </a:lnTo>
                      <a:lnTo>
                        <a:pt x="274638" y="460376"/>
                      </a:lnTo>
                      <a:lnTo>
                        <a:pt x="288925" y="452438"/>
                      </a:lnTo>
                      <a:lnTo>
                        <a:pt x="303213" y="447676"/>
                      </a:lnTo>
                      <a:lnTo>
                        <a:pt x="315913" y="446088"/>
                      </a:lnTo>
                      <a:lnTo>
                        <a:pt x="325438" y="446088"/>
                      </a:lnTo>
                      <a:lnTo>
                        <a:pt x="327025" y="446088"/>
                      </a:lnTo>
                      <a:lnTo>
                        <a:pt x="646113" y="446088"/>
                      </a:lnTo>
                      <a:lnTo>
                        <a:pt x="649288" y="446088"/>
                      </a:lnTo>
                      <a:lnTo>
                        <a:pt x="657225" y="446088"/>
                      </a:lnTo>
                      <a:lnTo>
                        <a:pt x="669925" y="452438"/>
                      </a:lnTo>
                      <a:lnTo>
                        <a:pt x="687388" y="465138"/>
                      </a:lnTo>
                      <a:lnTo>
                        <a:pt x="873126" y="571501"/>
                      </a:lnTo>
                      <a:lnTo>
                        <a:pt x="1066801" y="379413"/>
                      </a:lnTo>
                      <a:lnTo>
                        <a:pt x="1087438" y="360363"/>
                      </a:lnTo>
                      <a:lnTo>
                        <a:pt x="1114426" y="349251"/>
                      </a:lnTo>
                      <a:close/>
                      <a:moveTo>
                        <a:pt x="307975" y="228600"/>
                      </a:moveTo>
                      <a:lnTo>
                        <a:pt x="627063" y="228600"/>
                      </a:lnTo>
                      <a:lnTo>
                        <a:pt x="622301" y="268287"/>
                      </a:lnTo>
                      <a:lnTo>
                        <a:pt x="609601" y="303212"/>
                      </a:lnTo>
                      <a:lnTo>
                        <a:pt x="587376" y="336550"/>
                      </a:lnTo>
                      <a:lnTo>
                        <a:pt x="558801" y="361950"/>
                      </a:lnTo>
                      <a:lnTo>
                        <a:pt x="522288" y="382588"/>
                      </a:lnTo>
                      <a:lnTo>
                        <a:pt x="481013" y="390525"/>
                      </a:lnTo>
                      <a:lnTo>
                        <a:pt x="439738" y="388938"/>
                      </a:lnTo>
                      <a:lnTo>
                        <a:pt x="401638" y="377825"/>
                      </a:lnTo>
                      <a:lnTo>
                        <a:pt x="366713" y="355600"/>
                      </a:lnTo>
                      <a:lnTo>
                        <a:pt x="338138" y="325437"/>
                      </a:lnTo>
                      <a:lnTo>
                        <a:pt x="319088" y="288925"/>
                      </a:lnTo>
                      <a:lnTo>
                        <a:pt x="309563" y="260350"/>
                      </a:lnTo>
                      <a:close/>
                      <a:moveTo>
                        <a:pt x="430213" y="0"/>
                      </a:moveTo>
                      <a:lnTo>
                        <a:pt x="460376" y="0"/>
                      </a:lnTo>
                      <a:lnTo>
                        <a:pt x="492126" y="4762"/>
                      </a:lnTo>
                      <a:lnTo>
                        <a:pt x="517526" y="12700"/>
                      </a:lnTo>
                      <a:lnTo>
                        <a:pt x="539751" y="22225"/>
                      </a:lnTo>
                      <a:lnTo>
                        <a:pt x="552451" y="28575"/>
                      </a:lnTo>
                      <a:lnTo>
                        <a:pt x="563563" y="36512"/>
                      </a:lnTo>
                      <a:lnTo>
                        <a:pt x="576263" y="58738"/>
                      </a:lnTo>
                      <a:lnTo>
                        <a:pt x="592138" y="85725"/>
                      </a:lnTo>
                      <a:lnTo>
                        <a:pt x="608013" y="114300"/>
                      </a:lnTo>
                      <a:lnTo>
                        <a:pt x="620713" y="139700"/>
                      </a:lnTo>
                      <a:lnTo>
                        <a:pt x="633413" y="163513"/>
                      </a:lnTo>
                      <a:lnTo>
                        <a:pt x="644526" y="176213"/>
                      </a:lnTo>
                      <a:lnTo>
                        <a:pt x="660401" y="184150"/>
                      </a:lnTo>
                      <a:lnTo>
                        <a:pt x="677863" y="190500"/>
                      </a:lnTo>
                      <a:lnTo>
                        <a:pt x="696913" y="193675"/>
                      </a:lnTo>
                      <a:lnTo>
                        <a:pt x="712788" y="196850"/>
                      </a:lnTo>
                      <a:lnTo>
                        <a:pt x="715963" y="196850"/>
                      </a:lnTo>
                      <a:lnTo>
                        <a:pt x="719138" y="211138"/>
                      </a:lnTo>
                      <a:lnTo>
                        <a:pt x="625476" y="211138"/>
                      </a:lnTo>
                      <a:lnTo>
                        <a:pt x="561976" y="211138"/>
                      </a:lnTo>
                      <a:lnTo>
                        <a:pt x="268288" y="214313"/>
                      </a:lnTo>
                      <a:lnTo>
                        <a:pt x="268288" y="198438"/>
                      </a:lnTo>
                      <a:lnTo>
                        <a:pt x="271463" y="198438"/>
                      </a:lnTo>
                      <a:lnTo>
                        <a:pt x="274638" y="196850"/>
                      </a:lnTo>
                      <a:lnTo>
                        <a:pt x="279401" y="193675"/>
                      </a:lnTo>
                      <a:lnTo>
                        <a:pt x="285751" y="190500"/>
                      </a:lnTo>
                      <a:lnTo>
                        <a:pt x="290513" y="184150"/>
                      </a:lnTo>
                      <a:lnTo>
                        <a:pt x="296863" y="176213"/>
                      </a:lnTo>
                      <a:lnTo>
                        <a:pt x="301626" y="166688"/>
                      </a:lnTo>
                      <a:lnTo>
                        <a:pt x="303213" y="149225"/>
                      </a:lnTo>
                      <a:lnTo>
                        <a:pt x="307976" y="127000"/>
                      </a:lnTo>
                      <a:lnTo>
                        <a:pt x="314326" y="100013"/>
                      </a:lnTo>
                      <a:lnTo>
                        <a:pt x="323851" y="71438"/>
                      </a:lnTo>
                      <a:lnTo>
                        <a:pt x="341313" y="46037"/>
                      </a:lnTo>
                      <a:lnTo>
                        <a:pt x="365126" y="23812"/>
                      </a:lnTo>
                      <a:lnTo>
                        <a:pt x="396876" y="6350"/>
                      </a:lnTo>
                      <a:close/>
                    </a:path>
                  </a:pathLst>
                </a:custGeom>
                <a:solidFill>
                  <a:schemeClr val="accent2">
                    <a:lumMod val="75000"/>
                  </a:schemeClr>
                </a:solidFill>
                <a:ln w="0">
                  <a:noFill/>
                  <a:prstDash val="solid"/>
                  <a:round/>
                  <a:headEnd/>
                  <a:tailEnd/>
                </a:ln>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 name="SURFACE"/>
                <p:cNvGrpSpPr/>
                <p:nvPr/>
              </p:nvGrpSpPr>
              <p:grpSpPr>
                <a:xfrm>
                  <a:off x="1588681" y="1984979"/>
                  <a:ext cx="2004504" cy="1361372"/>
                  <a:chOff x="1082353" y="1780081"/>
                  <a:chExt cx="2510832" cy="1566270"/>
                </a:xfrm>
              </p:grpSpPr>
              <p:sp>
                <p:nvSpPr>
                  <p:cNvPr id="21" name="Rectangle 20"/>
                  <p:cNvSpPr/>
                  <p:nvPr/>
                </p:nvSpPr>
                <p:spPr bwMode="auto">
                  <a:xfrm>
                    <a:off x="1219310" y="1932430"/>
                    <a:ext cx="2227912" cy="1252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806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23463" y="1815082"/>
                    <a:ext cx="2219606" cy="1417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nvSpPr>
                <p:spPr bwMode="auto">
                  <a:xfrm>
                    <a:off x="1082353" y="1780081"/>
                    <a:ext cx="2510832" cy="1566270"/>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3" name="Rectangle 22"/>
              <p:cNvSpPr/>
              <p:nvPr/>
            </p:nvSpPr>
            <p:spPr>
              <a:xfrm>
                <a:off x="801732" y="1465436"/>
                <a:ext cx="1550746" cy="374846"/>
              </a:xfrm>
              <a:prstGeom prst="rect">
                <a:avLst/>
              </a:prstGeom>
            </p:spPr>
            <p:txBody>
              <a:bodyPr wrap="none">
                <a:spAutoFit/>
              </a:bodyPr>
              <a:lstStyle/>
              <a:p>
                <a:pPr defTabSz="914225"/>
                <a:r>
                  <a:rPr lang="en-US" b="1" dirty="0">
                    <a:solidFill>
                      <a:srgbClr val="0072C6">
                        <a:lumMod val="75000"/>
                      </a:srgbClr>
                    </a:solidFill>
                    <a:latin typeface="Segoe UI"/>
                  </a:rPr>
                  <a:t>Field worker</a:t>
                </a:r>
              </a:p>
            </p:txBody>
          </p:sp>
        </p:grpSp>
        <p:sp>
          <p:nvSpPr>
            <p:cNvPr id="22" name="Rounded Rectangle 21"/>
            <p:cNvSpPr/>
            <p:nvPr/>
          </p:nvSpPr>
          <p:spPr bwMode="auto">
            <a:xfrm>
              <a:off x="1287498" y="2225174"/>
              <a:ext cx="150415" cy="27160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34"/>
            <p:cNvSpPr>
              <a:spLocks noChangeAspect="1"/>
            </p:cNvSpPr>
            <p:nvPr/>
          </p:nvSpPr>
          <p:spPr bwMode="auto">
            <a:xfrm>
              <a:off x="1287498" y="2203499"/>
              <a:ext cx="166743" cy="2932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solidFill>
                  <a:srgbClr val="0072C6"/>
                </a:solidFill>
                <a:latin typeface="Segoe UI"/>
                <a:ea typeface="Segoe UI" pitchFamily="34" charset="0"/>
                <a:cs typeface="Segoe UI" pitchFamily="34" charset="0"/>
              </a:endParaRPr>
            </a:p>
          </p:txBody>
        </p:sp>
      </p:grpSp>
      <p:grpSp>
        <p:nvGrpSpPr>
          <p:cNvPr id="147" name="Control Center"/>
          <p:cNvGrpSpPr/>
          <p:nvPr/>
        </p:nvGrpSpPr>
        <p:grpSpPr>
          <a:xfrm>
            <a:off x="7949131" y="1944569"/>
            <a:ext cx="3227030" cy="2753111"/>
            <a:chOff x="7949393" y="1944357"/>
            <a:chExt cx="3227488" cy="2753502"/>
          </a:xfrm>
        </p:grpSpPr>
        <p:pic>
          <p:nvPicPr>
            <p:cNvPr id="148" name="Control Cente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7949393" y="1944357"/>
              <a:ext cx="3227488" cy="2157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9" name="Rectangle 148"/>
            <p:cNvSpPr/>
            <p:nvPr/>
          </p:nvSpPr>
          <p:spPr>
            <a:xfrm>
              <a:off x="9341518" y="4236456"/>
              <a:ext cx="1771447" cy="374846"/>
            </a:xfrm>
            <a:prstGeom prst="rect">
              <a:avLst/>
            </a:prstGeom>
          </p:spPr>
          <p:txBody>
            <a:bodyPr wrap="none">
              <a:spAutoFit/>
            </a:bodyPr>
            <a:lstStyle/>
            <a:p>
              <a:pPr defTabSz="914225"/>
              <a:r>
                <a:rPr lang="en-US" b="1" dirty="0">
                  <a:solidFill>
                    <a:srgbClr val="FF8C00">
                      <a:lumMod val="75000"/>
                    </a:srgbClr>
                  </a:solidFill>
                  <a:latin typeface="Segoe UI"/>
                </a:rPr>
                <a:t>Control center</a:t>
              </a:r>
            </a:p>
          </p:txBody>
        </p:sp>
        <p:sp>
          <p:nvSpPr>
            <p:cNvPr id="150" name="Rectangle 6"/>
            <p:cNvSpPr/>
            <p:nvPr/>
          </p:nvSpPr>
          <p:spPr bwMode="auto">
            <a:xfrm flipV="1">
              <a:off x="8052747" y="4219855"/>
              <a:ext cx="3090218" cy="65629"/>
            </a:xfrm>
            <a:prstGeom prst="trapezoid">
              <a:avLst>
                <a:gd name="adj" fmla="val 50136"/>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Oval 155"/>
            <p:cNvSpPr/>
            <p:nvPr/>
          </p:nvSpPr>
          <p:spPr bwMode="auto">
            <a:xfrm>
              <a:off x="8740205" y="3814635"/>
              <a:ext cx="752709" cy="883224"/>
            </a:xfrm>
            <a:custGeom>
              <a:avLst/>
              <a:gdLst/>
              <a:ahLst/>
              <a:cxnLst/>
              <a:rect l="l" t="t" r="r" b="b"/>
              <a:pathLst>
                <a:path w="752709" h="883224">
                  <a:moveTo>
                    <a:pt x="273038" y="197814"/>
                  </a:moveTo>
                  <a:lnTo>
                    <a:pt x="354927" y="197814"/>
                  </a:lnTo>
                  <a:lnTo>
                    <a:pt x="381538" y="203187"/>
                  </a:lnTo>
                  <a:cubicBezTo>
                    <a:pt x="384026" y="201708"/>
                    <a:pt x="386463" y="201975"/>
                    <a:pt x="388881" y="202430"/>
                  </a:cubicBezTo>
                  <a:cubicBezTo>
                    <a:pt x="395068" y="203595"/>
                    <a:pt x="401129" y="205993"/>
                    <a:pt x="406704" y="209695"/>
                  </a:cubicBezTo>
                  <a:cubicBezTo>
                    <a:pt x="454735" y="241596"/>
                    <a:pt x="502767" y="273498"/>
                    <a:pt x="550798" y="305399"/>
                  </a:cubicBezTo>
                  <a:lnTo>
                    <a:pt x="553332" y="309168"/>
                  </a:lnTo>
                  <a:cubicBezTo>
                    <a:pt x="604890" y="309168"/>
                    <a:pt x="656448" y="309169"/>
                    <a:pt x="708006" y="309169"/>
                  </a:cubicBezTo>
                  <a:cubicBezTo>
                    <a:pt x="732695" y="309169"/>
                    <a:pt x="752709" y="329183"/>
                    <a:pt x="752709" y="353872"/>
                  </a:cubicBezTo>
                  <a:lnTo>
                    <a:pt x="752708" y="353871"/>
                  </a:lnTo>
                  <a:cubicBezTo>
                    <a:pt x="752708" y="378560"/>
                    <a:pt x="732694" y="398574"/>
                    <a:pt x="708005" y="398574"/>
                  </a:cubicBezTo>
                  <a:lnTo>
                    <a:pt x="536832" y="398574"/>
                  </a:lnTo>
                  <a:cubicBezTo>
                    <a:pt x="529612" y="398574"/>
                    <a:pt x="522791" y="396862"/>
                    <a:pt x="516967" y="393400"/>
                  </a:cubicBezTo>
                  <a:cubicBezTo>
                    <a:pt x="510064" y="392731"/>
                    <a:pt x="503319" y="390234"/>
                    <a:pt x="497167" y="386148"/>
                  </a:cubicBezTo>
                  <a:lnTo>
                    <a:pt x="452732" y="356636"/>
                  </a:lnTo>
                  <a:lnTo>
                    <a:pt x="452732" y="508277"/>
                  </a:lnTo>
                  <a:cubicBezTo>
                    <a:pt x="464151" y="518436"/>
                    <a:pt x="471805" y="532582"/>
                    <a:pt x="472598" y="548667"/>
                  </a:cubicBezTo>
                  <a:lnTo>
                    <a:pt x="547726" y="548667"/>
                  </a:lnTo>
                  <a:lnTo>
                    <a:pt x="533209" y="593980"/>
                  </a:lnTo>
                  <a:lnTo>
                    <a:pt x="533209" y="883224"/>
                  </a:lnTo>
                  <a:lnTo>
                    <a:pt x="489530" y="883224"/>
                  </a:lnTo>
                  <a:lnTo>
                    <a:pt x="489530" y="606487"/>
                  </a:lnTo>
                  <a:lnTo>
                    <a:pt x="474395" y="606487"/>
                  </a:lnTo>
                  <a:cubicBezTo>
                    <a:pt x="474395" y="670135"/>
                    <a:pt x="474394" y="733783"/>
                    <a:pt x="474394" y="797431"/>
                  </a:cubicBezTo>
                  <a:cubicBezTo>
                    <a:pt x="474394" y="834523"/>
                    <a:pt x="444325" y="864592"/>
                    <a:pt x="407233" y="864592"/>
                  </a:cubicBezTo>
                  <a:lnTo>
                    <a:pt x="407234" y="864591"/>
                  </a:lnTo>
                  <a:cubicBezTo>
                    <a:pt x="370142" y="864591"/>
                    <a:pt x="340073" y="834522"/>
                    <a:pt x="340073" y="797430"/>
                  </a:cubicBezTo>
                  <a:lnTo>
                    <a:pt x="340073" y="613109"/>
                  </a:lnTo>
                  <a:lnTo>
                    <a:pt x="291014" y="613109"/>
                  </a:lnTo>
                  <a:cubicBezTo>
                    <a:pt x="291014" y="670679"/>
                    <a:pt x="291013" y="728248"/>
                    <a:pt x="291013" y="785817"/>
                  </a:cubicBezTo>
                  <a:cubicBezTo>
                    <a:pt x="291013" y="822909"/>
                    <a:pt x="260944" y="852978"/>
                    <a:pt x="223852" y="852978"/>
                  </a:cubicBezTo>
                  <a:lnTo>
                    <a:pt x="223853" y="852977"/>
                  </a:lnTo>
                  <a:cubicBezTo>
                    <a:pt x="186761" y="852977"/>
                    <a:pt x="156692" y="822908"/>
                    <a:pt x="156692" y="785816"/>
                  </a:cubicBezTo>
                  <a:lnTo>
                    <a:pt x="156692" y="606487"/>
                  </a:lnTo>
                  <a:lnTo>
                    <a:pt x="143757" y="606487"/>
                  </a:lnTo>
                  <a:lnTo>
                    <a:pt x="143757" y="883224"/>
                  </a:lnTo>
                  <a:lnTo>
                    <a:pt x="100078" y="883224"/>
                  </a:lnTo>
                  <a:lnTo>
                    <a:pt x="100078" y="606487"/>
                  </a:lnTo>
                  <a:lnTo>
                    <a:pt x="95123" y="606487"/>
                  </a:lnTo>
                  <a:lnTo>
                    <a:pt x="76599" y="548667"/>
                  </a:lnTo>
                  <a:lnTo>
                    <a:pt x="156692" y="548667"/>
                  </a:lnTo>
                  <a:lnTo>
                    <a:pt x="156692" y="545496"/>
                  </a:lnTo>
                  <a:cubicBezTo>
                    <a:pt x="156692" y="527668"/>
                    <a:pt x="163639" y="511462"/>
                    <a:pt x="175233" y="499682"/>
                  </a:cubicBezTo>
                  <a:lnTo>
                    <a:pt x="175233" y="378112"/>
                  </a:lnTo>
                  <a:cubicBezTo>
                    <a:pt x="161799" y="393771"/>
                    <a:pt x="138556" y="395397"/>
                    <a:pt x="121471" y="382757"/>
                  </a:cubicBezTo>
                  <a:lnTo>
                    <a:pt x="17757" y="306024"/>
                  </a:lnTo>
                  <a:cubicBezTo>
                    <a:pt x="-1695" y="291633"/>
                    <a:pt x="-5798" y="264196"/>
                    <a:pt x="8594" y="244744"/>
                  </a:cubicBezTo>
                  <a:cubicBezTo>
                    <a:pt x="15789" y="235018"/>
                    <a:pt x="26246" y="229130"/>
                    <a:pt x="37336" y="227472"/>
                  </a:cubicBezTo>
                  <a:cubicBezTo>
                    <a:pt x="48425" y="225813"/>
                    <a:pt x="60147" y="228386"/>
                    <a:pt x="69873" y="235581"/>
                  </a:cubicBezTo>
                  <a:lnTo>
                    <a:pt x="136466" y="284850"/>
                  </a:lnTo>
                  <a:lnTo>
                    <a:pt x="197759" y="235539"/>
                  </a:lnTo>
                  <a:cubicBezTo>
                    <a:pt x="214514" y="212181"/>
                    <a:pt x="242098" y="197814"/>
                    <a:pt x="273038" y="197814"/>
                  </a:cubicBezTo>
                  <a:close/>
                  <a:moveTo>
                    <a:pt x="315794" y="0"/>
                  </a:moveTo>
                  <a:cubicBezTo>
                    <a:pt x="366295" y="0"/>
                    <a:pt x="407234" y="40939"/>
                    <a:pt x="407234" y="91440"/>
                  </a:cubicBezTo>
                  <a:cubicBezTo>
                    <a:pt x="407234" y="141941"/>
                    <a:pt x="366295" y="182880"/>
                    <a:pt x="315794" y="182880"/>
                  </a:cubicBezTo>
                  <a:cubicBezTo>
                    <a:pt x="265293" y="182880"/>
                    <a:pt x="224354" y="141941"/>
                    <a:pt x="224354" y="91440"/>
                  </a:cubicBezTo>
                  <a:cubicBezTo>
                    <a:pt x="224354" y="40939"/>
                    <a:pt x="265293" y="0"/>
                    <a:pt x="315794" y="0"/>
                  </a:cubicBezTo>
                  <a:close/>
                </a:path>
              </a:pathLst>
            </a:custGeom>
            <a:solidFill>
              <a:schemeClr val="accent6">
                <a:lumMod val="75000"/>
              </a:schemeClr>
            </a:solidFill>
            <a:ln w="12700">
              <a:solidFill>
                <a:schemeClr val="bg1"/>
              </a:solidFill>
              <a:round/>
              <a:headEnd/>
              <a:tailEnd/>
            </a:ln>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17162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afterEffect">
                                  <p:stCondLst>
                                    <p:cond delay="0"/>
                                  </p:stCondLst>
                                  <p:childTnLst>
                                    <p:set>
                                      <p:cBhvr>
                                        <p:cTn id="6" dur="1" fill="hold">
                                          <p:stCondLst>
                                            <p:cond delay="0"/>
                                          </p:stCondLst>
                                        </p:cTn>
                                        <p:tgtEl>
                                          <p:spTgt spid="453"/>
                                        </p:tgtEl>
                                        <p:attrNameLst>
                                          <p:attrName>style.visibility</p:attrName>
                                        </p:attrNameLst>
                                      </p:cBhvr>
                                      <p:to>
                                        <p:strVal val="visible"/>
                                      </p:to>
                                    </p:set>
                                    <p:animEffect transition="in" filter="fade">
                                      <p:cBhvr>
                                        <p:cTn id="7" dur="1250"/>
                                        <p:tgtEl>
                                          <p:spTgt spid="453"/>
                                        </p:tgtEl>
                                      </p:cBhvr>
                                    </p:animEffect>
                                  </p:childTnLst>
                                </p:cTn>
                              </p:par>
                              <p:par>
                                <p:cTn id="8" presetID="10" presetClass="entr" presetSubtype="0" repeatCount="indefinite" fill="hold" grpId="0" nodeType="withEffect">
                                  <p:stCondLst>
                                    <p:cond delay="700"/>
                                  </p:stCondLst>
                                  <p:childTnLst>
                                    <p:set>
                                      <p:cBhvr>
                                        <p:cTn id="9" dur="1" fill="hold">
                                          <p:stCondLst>
                                            <p:cond delay="0"/>
                                          </p:stCondLst>
                                        </p:cTn>
                                        <p:tgtEl>
                                          <p:spTgt spid="452"/>
                                        </p:tgtEl>
                                        <p:attrNameLst>
                                          <p:attrName>style.visibility</p:attrName>
                                        </p:attrNameLst>
                                      </p:cBhvr>
                                      <p:to>
                                        <p:strVal val="visible"/>
                                      </p:to>
                                    </p:set>
                                    <p:animEffect transition="in" filter="fade">
                                      <p:cBhvr>
                                        <p:cTn id="10" dur="1250"/>
                                        <p:tgtEl>
                                          <p:spTgt spid="452"/>
                                        </p:tgtEl>
                                      </p:cBhvr>
                                    </p:animEffect>
                                  </p:childTnLst>
                                </p:cTn>
                              </p:par>
                              <p:par>
                                <p:cTn id="11" presetID="10" presetClass="entr" presetSubtype="0" repeatCount="indefinite" fill="hold" grpId="0" nodeType="withEffect">
                                  <p:stCondLst>
                                    <p:cond delay="140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1250"/>
                                        <p:tgtEl>
                                          <p:spTgt spid="451"/>
                                        </p:tgtEl>
                                      </p:cBhvr>
                                    </p:animEffect>
                                  </p:childTnLst>
                                </p:cTn>
                              </p:par>
                              <p:par>
                                <p:cTn id="14" presetID="10" presetClass="entr" presetSubtype="0" repeatCount="indefinite" fill="hold" grpId="0" nodeType="withEffect">
                                  <p:stCondLst>
                                    <p:cond delay="0"/>
                                  </p:stCondLst>
                                  <p:childTnLst>
                                    <p:set>
                                      <p:cBhvr>
                                        <p:cTn id="15" dur="1" fill="hold">
                                          <p:stCondLst>
                                            <p:cond delay="0"/>
                                          </p:stCondLst>
                                        </p:cTn>
                                        <p:tgtEl>
                                          <p:spTgt spid="456"/>
                                        </p:tgtEl>
                                        <p:attrNameLst>
                                          <p:attrName>style.visibility</p:attrName>
                                        </p:attrNameLst>
                                      </p:cBhvr>
                                      <p:to>
                                        <p:strVal val="visible"/>
                                      </p:to>
                                    </p:set>
                                    <p:animEffect transition="in" filter="fade">
                                      <p:cBhvr>
                                        <p:cTn id="16" dur="1250"/>
                                        <p:tgtEl>
                                          <p:spTgt spid="456"/>
                                        </p:tgtEl>
                                      </p:cBhvr>
                                    </p:animEffect>
                                  </p:childTnLst>
                                </p:cTn>
                              </p:par>
                              <p:par>
                                <p:cTn id="17" presetID="10" presetClass="entr" presetSubtype="0" repeatCount="indefinite" fill="hold" grpId="0" nodeType="withEffect">
                                  <p:stCondLst>
                                    <p:cond delay="800"/>
                                  </p:stCondLst>
                                  <p:childTnLst>
                                    <p:set>
                                      <p:cBhvr>
                                        <p:cTn id="18" dur="1" fill="hold">
                                          <p:stCondLst>
                                            <p:cond delay="0"/>
                                          </p:stCondLst>
                                        </p:cTn>
                                        <p:tgtEl>
                                          <p:spTgt spid="455"/>
                                        </p:tgtEl>
                                        <p:attrNameLst>
                                          <p:attrName>style.visibility</p:attrName>
                                        </p:attrNameLst>
                                      </p:cBhvr>
                                      <p:to>
                                        <p:strVal val="visible"/>
                                      </p:to>
                                    </p:set>
                                    <p:animEffect transition="in" filter="fade">
                                      <p:cBhvr>
                                        <p:cTn id="19" dur="1250"/>
                                        <p:tgtEl>
                                          <p:spTgt spid="455"/>
                                        </p:tgtEl>
                                      </p:cBhvr>
                                    </p:animEffect>
                                  </p:childTnLst>
                                </p:cTn>
                              </p:par>
                              <p:par>
                                <p:cTn id="20" presetID="10" presetClass="entr" presetSubtype="0" repeatCount="indefinite" fill="hold" grpId="0" nodeType="withEffect">
                                  <p:stCondLst>
                                    <p:cond delay="1600"/>
                                  </p:stCondLst>
                                  <p:childTnLst>
                                    <p:set>
                                      <p:cBhvr>
                                        <p:cTn id="21" dur="1" fill="hold">
                                          <p:stCondLst>
                                            <p:cond delay="0"/>
                                          </p:stCondLst>
                                        </p:cTn>
                                        <p:tgtEl>
                                          <p:spTgt spid="454"/>
                                        </p:tgtEl>
                                        <p:attrNameLst>
                                          <p:attrName>style.visibility</p:attrName>
                                        </p:attrNameLst>
                                      </p:cBhvr>
                                      <p:to>
                                        <p:strVal val="visible"/>
                                      </p:to>
                                    </p:set>
                                    <p:animEffect transition="in" filter="fade">
                                      <p:cBhvr>
                                        <p:cTn id="22" dur="1250"/>
                                        <p:tgtEl>
                                          <p:spTgt spid="454"/>
                                        </p:tgtEl>
                                      </p:cBhvr>
                                    </p:animEffect>
                                  </p:childTnLst>
                                </p:cTn>
                              </p:par>
                            </p:childTnLst>
                          </p:cTn>
                        </p:par>
                        <p:par>
                          <p:cTn id="23" fill="hold">
                            <p:stCondLst>
                              <p:cond delay="285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100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4350"/>
                            </p:stCondLst>
                            <p:childTnLst>
                              <p:par>
                                <p:cTn id="31" presetID="10" presetClass="entr" presetSubtype="0" fill="hold" nodeType="afterEffect">
                                  <p:stCondLst>
                                    <p:cond delay="50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750"/>
                                        <p:tgtEl>
                                          <p:spTgt spid="147"/>
                                        </p:tgtEl>
                                      </p:cBhvr>
                                    </p:animEffect>
                                  </p:childTnLst>
                                </p:cTn>
                              </p:par>
                              <p:par>
                                <p:cTn id="34" presetID="10" presetClass="entr" presetSubtype="0" fill="hold" grpId="0" nodeType="withEffect">
                                  <p:stCondLst>
                                    <p:cond delay="210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5100"/>
                                        <p:tgtEl>
                                          <p:spTgt spid="656"/>
                                        </p:tgtEl>
                                      </p:cBhvr>
                                    </p:animEffect>
                                  </p:childTnLst>
                                </p:cTn>
                              </p:par>
                              <p:par>
                                <p:cTn id="37" presetID="10" presetClass="entr" presetSubtype="0" fill="hold" grpId="0" nodeType="withEffect">
                                  <p:stCondLst>
                                    <p:cond delay="2300"/>
                                  </p:stCondLst>
                                  <p:childTnLst>
                                    <p:set>
                                      <p:cBhvr>
                                        <p:cTn id="38" dur="1" fill="hold">
                                          <p:stCondLst>
                                            <p:cond delay="0"/>
                                          </p:stCondLst>
                                        </p:cTn>
                                        <p:tgtEl>
                                          <p:spTgt spid="402"/>
                                        </p:tgtEl>
                                        <p:attrNameLst>
                                          <p:attrName>style.visibility</p:attrName>
                                        </p:attrNameLst>
                                      </p:cBhvr>
                                      <p:to>
                                        <p:strVal val="visible"/>
                                      </p:to>
                                    </p:set>
                                    <p:animEffect transition="in" filter="fade">
                                      <p:cBhvr>
                                        <p:cTn id="39" dur="5100"/>
                                        <p:tgtEl>
                                          <p:spTgt spid="402"/>
                                        </p:tgtEl>
                                      </p:cBhvr>
                                    </p:animEffect>
                                  </p:childTnLst>
                                </p:cTn>
                              </p:par>
                              <p:par>
                                <p:cTn id="40" presetID="22" presetClass="entr" presetSubtype="1" repeatCount="indefinite" fill="hold" nodeType="withEffect">
                                  <p:stCondLst>
                                    <p:cond delay="500"/>
                                  </p:stCondLst>
                                  <p:childTnLst>
                                    <p:set>
                                      <p:cBhvr>
                                        <p:cTn id="41" dur="1" fill="hold">
                                          <p:stCondLst>
                                            <p:cond delay="0"/>
                                          </p:stCondLst>
                                        </p:cTn>
                                        <p:tgtEl>
                                          <p:spTgt spid="506"/>
                                        </p:tgtEl>
                                        <p:attrNameLst>
                                          <p:attrName>style.visibility</p:attrName>
                                        </p:attrNameLst>
                                      </p:cBhvr>
                                      <p:to>
                                        <p:strVal val="visible"/>
                                      </p:to>
                                    </p:set>
                                    <p:animEffect transition="in" filter="wipe(up)">
                                      <p:cBhvr>
                                        <p:cTn id="42" dur="1250"/>
                                        <p:tgtEl>
                                          <p:spTgt spid="506"/>
                                        </p:tgtEl>
                                      </p:cBhvr>
                                    </p:animEffect>
                                  </p:childTnLst>
                                </p:cTn>
                              </p:par>
                              <p:par>
                                <p:cTn id="43" presetID="22" presetClass="entr" presetSubtype="8" repeatCount="indefinite" fill="hold" nodeType="withEffect">
                                  <p:stCondLst>
                                    <p:cond delay="1650"/>
                                  </p:stCondLst>
                                  <p:childTnLst>
                                    <p:set>
                                      <p:cBhvr>
                                        <p:cTn id="44" dur="1" fill="hold">
                                          <p:stCondLst>
                                            <p:cond delay="0"/>
                                          </p:stCondLst>
                                        </p:cTn>
                                        <p:tgtEl>
                                          <p:spTgt spid="494"/>
                                        </p:tgtEl>
                                        <p:attrNameLst>
                                          <p:attrName>style.visibility</p:attrName>
                                        </p:attrNameLst>
                                      </p:cBhvr>
                                      <p:to>
                                        <p:strVal val="visible"/>
                                      </p:to>
                                    </p:set>
                                    <p:animEffect transition="in" filter="wipe(left)">
                                      <p:cBhvr>
                                        <p:cTn id="45" dur="1250"/>
                                        <p:tgtEl>
                                          <p:spTgt spid="494"/>
                                        </p:tgtEl>
                                      </p:cBhvr>
                                    </p:animEffect>
                                  </p:childTnLst>
                                </p:cTn>
                              </p:par>
                              <p:par>
                                <p:cTn id="46" presetID="22" presetClass="entr" presetSubtype="4" repeatCount="indefinite" fill="hold" nodeType="withEffect">
                                  <p:stCondLst>
                                    <p:cond delay="500"/>
                                  </p:stCondLst>
                                  <p:childTnLst>
                                    <p:set>
                                      <p:cBhvr>
                                        <p:cTn id="47" dur="1" fill="hold">
                                          <p:stCondLst>
                                            <p:cond delay="0"/>
                                          </p:stCondLst>
                                        </p:cTn>
                                        <p:tgtEl>
                                          <p:spTgt spid="504"/>
                                        </p:tgtEl>
                                        <p:attrNameLst>
                                          <p:attrName>style.visibility</p:attrName>
                                        </p:attrNameLst>
                                      </p:cBhvr>
                                      <p:to>
                                        <p:strVal val="visible"/>
                                      </p:to>
                                    </p:set>
                                    <p:animEffect transition="in" filter="wipe(down)">
                                      <p:cBhvr>
                                        <p:cTn id="48" dur="1250"/>
                                        <p:tgtEl>
                                          <p:spTgt spid="504"/>
                                        </p:tgtEl>
                                      </p:cBhvr>
                                    </p:animEffect>
                                  </p:childTnLst>
                                </p:cTn>
                              </p:par>
                              <p:par>
                                <p:cTn id="49" presetID="22" presetClass="entr" presetSubtype="4" repeatCount="indefinite" fill="hold" nodeType="withEffect">
                                  <p:stCondLst>
                                    <p:cond delay="1650"/>
                                  </p:stCondLst>
                                  <p:childTnLst>
                                    <p:set>
                                      <p:cBhvr>
                                        <p:cTn id="50" dur="1" fill="hold">
                                          <p:stCondLst>
                                            <p:cond delay="0"/>
                                          </p:stCondLst>
                                        </p:cTn>
                                        <p:tgtEl>
                                          <p:spTgt spid="505"/>
                                        </p:tgtEl>
                                        <p:attrNameLst>
                                          <p:attrName>style.visibility</p:attrName>
                                        </p:attrNameLst>
                                      </p:cBhvr>
                                      <p:to>
                                        <p:strVal val="visible"/>
                                      </p:to>
                                    </p:set>
                                    <p:animEffect transition="in" filter="wipe(down)">
                                      <p:cBhvr>
                                        <p:cTn id="51" dur="1250"/>
                                        <p:tgtEl>
                                          <p:spTgt spid="505"/>
                                        </p:tgtEl>
                                      </p:cBhvr>
                                    </p:animEffect>
                                  </p:childTnLst>
                                </p:cTn>
                              </p:par>
                              <p:par>
                                <p:cTn id="52" presetID="22" presetClass="entr" presetSubtype="2" repeatCount="indefinite" fill="hold" nodeType="withEffect">
                                  <p:stCondLst>
                                    <p:cond delay="500"/>
                                  </p:stCondLst>
                                  <p:childTnLst>
                                    <p:set>
                                      <p:cBhvr>
                                        <p:cTn id="53" dur="1" fill="hold">
                                          <p:stCondLst>
                                            <p:cond delay="0"/>
                                          </p:stCondLst>
                                        </p:cTn>
                                        <p:tgtEl>
                                          <p:spTgt spid="491"/>
                                        </p:tgtEl>
                                        <p:attrNameLst>
                                          <p:attrName>style.visibility</p:attrName>
                                        </p:attrNameLst>
                                      </p:cBhvr>
                                      <p:to>
                                        <p:strVal val="visible"/>
                                      </p:to>
                                    </p:set>
                                    <p:animEffect transition="in" filter="wipe(right)">
                                      <p:cBhvr>
                                        <p:cTn id="54" dur="1250"/>
                                        <p:tgtEl>
                                          <p:spTgt spid="491"/>
                                        </p:tgtEl>
                                      </p:cBhvr>
                                    </p:animEffect>
                                  </p:childTnLst>
                                </p:cTn>
                              </p:par>
                              <p:par>
                                <p:cTn id="55" presetID="22" presetClass="entr" presetSubtype="1" repeatCount="indefinite" fill="hold" nodeType="withEffect">
                                  <p:stCondLst>
                                    <p:cond delay="2150"/>
                                  </p:stCondLst>
                                  <p:childTnLst>
                                    <p:set>
                                      <p:cBhvr>
                                        <p:cTn id="56" dur="1" fill="hold">
                                          <p:stCondLst>
                                            <p:cond delay="0"/>
                                          </p:stCondLst>
                                        </p:cTn>
                                        <p:tgtEl>
                                          <p:spTgt spid="434"/>
                                        </p:tgtEl>
                                        <p:attrNameLst>
                                          <p:attrName>style.visibility</p:attrName>
                                        </p:attrNameLst>
                                      </p:cBhvr>
                                      <p:to>
                                        <p:strVal val="visible"/>
                                      </p:to>
                                    </p:set>
                                    <p:animEffect transition="in" filter="wipe(up)">
                                      <p:cBhvr>
                                        <p:cTn id="57" dur="1250"/>
                                        <p:tgtEl>
                                          <p:spTgt spid="434"/>
                                        </p:tgtEl>
                                      </p:cBhvr>
                                    </p:animEffect>
                                  </p:childTnLst>
                                </p:cTn>
                              </p:par>
                              <p:par>
                                <p:cTn id="58" presetID="22" presetClass="entr" presetSubtype="8" repeatCount="indefinite" fill="hold" nodeType="withEffect">
                                  <p:stCondLst>
                                    <p:cond delay="500"/>
                                  </p:stCondLst>
                                  <p:childTnLst>
                                    <p:set>
                                      <p:cBhvr>
                                        <p:cTn id="59" dur="1" fill="hold">
                                          <p:stCondLst>
                                            <p:cond delay="0"/>
                                          </p:stCondLst>
                                        </p:cTn>
                                        <p:tgtEl>
                                          <p:spTgt spid="65"/>
                                        </p:tgtEl>
                                        <p:attrNameLst>
                                          <p:attrName>style.visibility</p:attrName>
                                        </p:attrNameLst>
                                      </p:cBhvr>
                                      <p:to>
                                        <p:strVal val="visible"/>
                                      </p:to>
                                    </p:set>
                                    <p:animEffect transition="in" filter="wipe(left)">
                                      <p:cBhvr>
                                        <p:cTn id="60" dur="1250"/>
                                        <p:tgtEl>
                                          <p:spTgt spid="65"/>
                                        </p:tgtEl>
                                      </p:cBhvr>
                                    </p:animEffect>
                                  </p:childTnLst>
                                </p:cTn>
                              </p:par>
                              <p:par>
                                <p:cTn id="61" presetID="22" presetClass="entr" presetSubtype="2" repeatCount="indefinite" fill="hold" nodeType="withEffect">
                                  <p:stCondLst>
                                    <p:cond delay="2150"/>
                                  </p:stCondLst>
                                  <p:childTnLst>
                                    <p:set>
                                      <p:cBhvr>
                                        <p:cTn id="62" dur="1" fill="hold">
                                          <p:stCondLst>
                                            <p:cond delay="0"/>
                                          </p:stCondLst>
                                        </p:cTn>
                                        <p:tgtEl>
                                          <p:spTgt spid="64"/>
                                        </p:tgtEl>
                                        <p:attrNameLst>
                                          <p:attrName>style.visibility</p:attrName>
                                        </p:attrNameLst>
                                      </p:cBhvr>
                                      <p:to>
                                        <p:strVal val="visible"/>
                                      </p:to>
                                    </p:set>
                                    <p:animEffect transition="in" filter="wipe(right)">
                                      <p:cBhvr>
                                        <p:cTn id="63" dur="1250"/>
                                        <p:tgtEl>
                                          <p:spTgt spid="64"/>
                                        </p:tgtEl>
                                      </p:cBhvr>
                                    </p:animEffect>
                                  </p:childTnLst>
                                </p:cTn>
                              </p:par>
                              <p:par>
                                <p:cTn id="64" presetID="22" presetClass="entr" presetSubtype="8" repeatCount="indefinite" fill="hold" nodeType="withEffect">
                                  <p:stCondLst>
                                    <p:cond delay="50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1250"/>
                                        <p:tgtEl>
                                          <p:spTgt spid="93"/>
                                        </p:tgtEl>
                                      </p:cBhvr>
                                    </p:animEffect>
                                  </p:childTnLst>
                                </p:cTn>
                              </p:par>
                              <p:par>
                                <p:cTn id="67" presetID="22" presetClass="entr" presetSubtype="2" repeatCount="indefinite" fill="hold" nodeType="withEffect">
                                  <p:stCondLst>
                                    <p:cond delay="215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250"/>
                                        <p:tgtEl>
                                          <p:spTgt spid="92"/>
                                        </p:tgtEl>
                                      </p:cBhvr>
                                    </p:animEffect>
                                  </p:childTnLst>
                                </p:cTn>
                              </p:par>
                              <p:par>
                                <p:cTn id="70" presetID="22" presetClass="entr" presetSubtype="8" repeatCount="indefinite" fill="hold" nodeType="withEffect">
                                  <p:stCondLst>
                                    <p:cond delay="500"/>
                                  </p:stCondLst>
                                  <p:childTnLst>
                                    <p:set>
                                      <p:cBhvr>
                                        <p:cTn id="71" dur="1" fill="hold">
                                          <p:stCondLst>
                                            <p:cond delay="0"/>
                                          </p:stCondLst>
                                        </p:cTn>
                                        <p:tgtEl>
                                          <p:spTgt spid="95"/>
                                        </p:tgtEl>
                                        <p:attrNameLst>
                                          <p:attrName>style.visibility</p:attrName>
                                        </p:attrNameLst>
                                      </p:cBhvr>
                                      <p:to>
                                        <p:strVal val="visible"/>
                                      </p:to>
                                    </p:set>
                                    <p:animEffect transition="in" filter="wipe(left)">
                                      <p:cBhvr>
                                        <p:cTn id="72" dur="1250"/>
                                        <p:tgtEl>
                                          <p:spTgt spid="95"/>
                                        </p:tgtEl>
                                      </p:cBhvr>
                                    </p:animEffect>
                                  </p:childTnLst>
                                </p:cTn>
                              </p:par>
                              <p:par>
                                <p:cTn id="73" presetID="22" presetClass="entr" presetSubtype="2" repeatCount="indefinite" fill="hold" nodeType="withEffect">
                                  <p:stCondLst>
                                    <p:cond delay="2150"/>
                                  </p:stCondLst>
                                  <p:childTnLst>
                                    <p:set>
                                      <p:cBhvr>
                                        <p:cTn id="74" dur="1" fill="hold">
                                          <p:stCondLst>
                                            <p:cond delay="0"/>
                                          </p:stCondLst>
                                        </p:cTn>
                                        <p:tgtEl>
                                          <p:spTgt spid="94"/>
                                        </p:tgtEl>
                                        <p:attrNameLst>
                                          <p:attrName>style.visibility</p:attrName>
                                        </p:attrNameLst>
                                      </p:cBhvr>
                                      <p:to>
                                        <p:strVal val="visible"/>
                                      </p:to>
                                    </p:set>
                                    <p:animEffect transition="in" filter="wipe(right)">
                                      <p:cBhvr>
                                        <p:cTn id="75" dur="1250"/>
                                        <p:tgtEl>
                                          <p:spTgt spid="9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dissolve">
                                      <p:cBhvr>
                                        <p:cTn id="80" dur="325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 grpId="0" animBg="1"/>
      <p:bldP spid="656" grpId="0" animBg="1"/>
      <p:bldP spid="451" grpId="0" animBg="1"/>
      <p:bldP spid="452" grpId="0" animBg="1"/>
      <p:bldP spid="453" grpId="0" animBg="1"/>
      <p:bldP spid="454" grpId="0" animBg="1"/>
      <p:bldP spid="455" grpId="0" animBg="1"/>
      <p:bldP spid="45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solidFill>
                  <a:srgbClr val="442157"/>
                </a:solidFill>
              </a:rPr>
              <a:t>Why Now ?</a:t>
            </a:r>
            <a:endParaRPr lang="en-IN" sz="6000" dirty="0">
              <a:solidFill>
                <a:srgbClr val="442157"/>
              </a:solidFill>
            </a:endParaRPr>
          </a:p>
        </p:txBody>
      </p:sp>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1862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46" y="303964"/>
            <a:ext cx="11915990" cy="1097645"/>
          </a:xfrm>
        </p:spPr>
        <p:txBody>
          <a:bodyPr/>
          <a:lstStyle/>
          <a:p>
            <a:r>
              <a:rPr lang="en-US" sz="6000" dirty="0">
                <a:solidFill>
                  <a:srgbClr val="442157"/>
                </a:solidFill>
                <a:ea typeface="+mj-ea"/>
                <a:cs typeface="+mj-cs"/>
              </a:rPr>
              <a:t>Why Businesses Need IoT Now</a:t>
            </a:r>
            <a:endParaRPr lang="en-IN" sz="6000" dirty="0">
              <a:solidFill>
                <a:srgbClr val="442157"/>
              </a:solidFill>
              <a:ea typeface="+mj-ea"/>
              <a:cs typeface="+mj-cs"/>
            </a:endParaRPr>
          </a:p>
        </p:txBody>
      </p:sp>
      <p:grpSp>
        <p:nvGrpSpPr>
          <p:cNvPr id="4" name="Group 3"/>
          <p:cNvGrpSpPr/>
          <p:nvPr/>
        </p:nvGrpSpPr>
        <p:grpSpPr>
          <a:xfrm>
            <a:off x="5423777" y="3073299"/>
            <a:ext cx="6767359" cy="3783729"/>
            <a:chOff x="5532437" y="3134377"/>
            <a:chExt cx="6904038" cy="3860148"/>
          </a:xfrm>
        </p:grpSpPr>
        <p:sp>
          <p:nvSpPr>
            <p:cNvPr id="5" name="AutoShape 3"/>
            <p:cNvSpPr>
              <a:spLocks noChangeAspect="1" noChangeArrowheads="1" noTextEdit="1"/>
            </p:cNvSpPr>
            <p:nvPr/>
          </p:nvSpPr>
          <p:spPr bwMode="auto">
            <a:xfrm>
              <a:off x="5532437" y="3134377"/>
              <a:ext cx="6904038"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Freeform 5"/>
            <p:cNvSpPr>
              <a:spLocks/>
            </p:cNvSpPr>
            <p:nvPr/>
          </p:nvSpPr>
          <p:spPr bwMode="auto">
            <a:xfrm>
              <a:off x="7747000" y="4391678"/>
              <a:ext cx="4689475" cy="1630362"/>
            </a:xfrm>
            <a:custGeom>
              <a:avLst/>
              <a:gdLst>
                <a:gd name="T0" fmla="*/ 16 w 2954"/>
                <a:gd name="T1" fmla="*/ 1027 h 1027"/>
                <a:gd name="T2" fmla="*/ 0 w 2954"/>
                <a:gd name="T3" fmla="*/ 957 h 1027"/>
                <a:gd name="T4" fmla="*/ 859 w 2954"/>
                <a:gd name="T5" fmla="*/ 749 h 1027"/>
                <a:gd name="T6" fmla="*/ 1562 w 2954"/>
                <a:gd name="T7" fmla="*/ 311 h 1027"/>
                <a:gd name="T8" fmla="*/ 2427 w 2954"/>
                <a:gd name="T9" fmla="*/ 278 h 1027"/>
                <a:gd name="T10" fmla="*/ 2954 w 2954"/>
                <a:gd name="T11" fmla="*/ 0 h 1027"/>
                <a:gd name="T12" fmla="*/ 2954 w 2954"/>
                <a:gd name="T13" fmla="*/ 0 h 1027"/>
                <a:gd name="T14" fmla="*/ 2954 w 2954"/>
                <a:gd name="T15" fmla="*/ 73 h 1027"/>
                <a:gd name="T16" fmla="*/ 2954 w 2954"/>
                <a:gd name="T17" fmla="*/ 77 h 1027"/>
                <a:gd name="T18" fmla="*/ 2449 w 2954"/>
                <a:gd name="T19" fmla="*/ 349 h 1027"/>
                <a:gd name="T20" fmla="*/ 1583 w 2954"/>
                <a:gd name="T21" fmla="*/ 382 h 1027"/>
                <a:gd name="T22" fmla="*/ 888 w 2954"/>
                <a:gd name="T23" fmla="*/ 815 h 1027"/>
                <a:gd name="T24" fmla="*/ 16 w 2954"/>
                <a:gd name="T25"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4" h="1027">
                  <a:moveTo>
                    <a:pt x="16" y="1027"/>
                  </a:moveTo>
                  <a:lnTo>
                    <a:pt x="0" y="957"/>
                  </a:lnTo>
                  <a:lnTo>
                    <a:pt x="859" y="749"/>
                  </a:lnTo>
                  <a:lnTo>
                    <a:pt x="1562" y="311"/>
                  </a:lnTo>
                  <a:lnTo>
                    <a:pt x="2427" y="278"/>
                  </a:lnTo>
                  <a:lnTo>
                    <a:pt x="2954" y="0"/>
                  </a:lnTo>
                  <a:lnTo>
                    <a:pt x="2954" y="0"/>
                  </a:lnTo>
                  <a:lnTo>
                    <a:pt x="2954" y="73"/>
                  </a:lnTo>
                  <a:lnTo>
                    <a:pt x="2954" y="77"/>
                  </a:lnTo>
                  <a:lnTo>
                    <a:pt x="2449" y="349"/>
                  </a:lnTo>
                  <a:lnTo>
                    <a:pt x="1583" y="382"/>
                  </a:lnTo>
                  <a:lnTo>
                    <a:pt x="888" y="815"/>
                  </a:lnTo>
                  <a:lnTo>
                    <a:pt x="16" y="1027"/>
                  </a:lnTo>
                  <a:close/>
                </a:path>
              </a:pathLst>
            </a:custGeom>
            <a:solidFill>
              <a:srgbClr val="68217A"/>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Freeform 6"/>
            <p:cNvSpPr>
              <a:spLocks/>
            </p:cNvSpPr>
            <p:nvPr/>
          </p:nvSpPr>
          <p:spPr bwMode="auto">
            <a:xfrm>
              <a:off x="7756525" y="3145490"/>
              <a:ext cx="4670425" cy="2689224"/>
            </a:xfrm>
            <a:custGeom>
              <a:avLst/>
              <a:gdLst>
                <a:gd name="T0" fmla="*/ 30 w 2989"/>
                <a:gd name="T1" fmla="*/ 1694 h 1694"/>
                <a:gd name="T2" fmla="*/ 0 w 2989"/>
                <a:gd name="T3" fmla="*/ 1629 h 1694"/>
                <a:gd name="T4" fmla="*/ 698 w 2989"/>
                <a:gd name="T5" fmla="*/ 1307 h 1694"/>
                <a:gd name="T6" fmla="*/ 1128 w 2989"/>
                <a:gd name="T7" fmla="*/ 803 h 1694"/>
                <a:gd name="T8" fmla="*/ 1833 w 2989"/>
                <a:gd name="T9" fmla="*/ 656 h 1694"/>
                <a:gd name="T10" fmla="*/ 2260 w 2989"/>
                <a:gd name="T11" fmla="*/ 154 h 1694"/>
                <a:gd name="T12" fmla="*/ 2989 w 2989"/>
                <a:gd name="T13" fmla="*/ 0 h 1694"/>
                <a:gd name="T14" fmla="*/ 2989 w 2989"/>
                <a:gd name="T15" fmla="*/ 71 h 1694"/>
                <a:gd name="T16" fmla="*/ 2298 w 2989"/>
                <a:gd name="T17" fmla="*/ 220 h 1694"/>
                <a:gd name="T18" fmla="*/ 1871 w 2989"/>
                <a:gd name="T19" fmla="*/ 721 h 1694"/>
                <a:gd name="T20" fmla="*/ 1166 w 2989"/>
                <a:gd name="T21" fmla="*/ 868 h 1694"/>
                <a:gd name="T22" fmla="*/ 743 w 2989"/>
                <a:gd name="T23" fmla="*/ 1365 h 1694"/>
                <a:gd name="T24" fmla="*/ 30 w 2989"/>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1694">
                  <a:moveTo>
                    <a:pt x="30" y="1694"/>
                  </a:moveTo>
                  <a:lnTo>
                    <a:pt x="0" y="1629"/>
                  </a:lnTo>
                  <a:lnTo>
                    <a:pt x="698" y="1307"/>
                  </a:lnTo>
                  <a:lnTo>
                    <a:pt x="1128" y="803"/>
                  </a:lnTo>
                  <a:lnTo>
                    <a:pt x="1833" y="656"/>
                  </a:lnTo>
                  <a:lnTo>
                    <a:pt x="2260" y="154"/>
                  </a:lnTo>
                  <a:lnTo>
                    <a:pt x="2989" y="0"/>
                  </a:lnTo>
                  <a:lnTo>
                    <a:pt x="2989" y="71"/>
                  </a:lnTo>
                  <a:lnTo>
                    <a:pt x="2298" y="220"/>
                  </a:lnTo>
                  <a:lnTo>
                    <a:pt x="1871" y="721"/>
                  </a:lnTo>
                  <a:lnTo>
                    <a:pt x="1166" y="868"/>
                  </a:lnTo>
                  <a:lnTo>
                    <a:pt x="743" y="1365"/>
                  </a:lnTo>
                  <a:lnTo>
                    <a:pt x="30" y="1694"/>
                  </a:lnTo>
                  <a:close/>
                </a:path>
              </a:pathLst>
            </a:custGeom>
            <a:solidFill>
              <a:srgbClr val="00827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7767637" y="5093352"/>
              <a:ext cx="4668838" cy="1268412"/>
            </a:xfrm>
            <a:custGeom>
              <a:avLst/>
              <a:gdLst>
                <a:gd name="T0" fmla="*/ 10 w 2941"/>
                <a:gd name="T1" fmla="*/ 799 h 799"/>
                <a:gd name="T2" fmla="*/ 0 w 2941"/>
                <a:gd name="T3" fmla="*/ 728 h 799"/>
                <a:gd name="T4" fmla="*/ 681 w 2941"/>
                <a:gd name="T5" fmla="*/ 620 h 799"/>
                <a:gd name="T6" fmla="*/ 1249 w 2941"/>
                <a:gd name="T7" fmla="*/ 273 h 799"/>
                <a:gd name="T8" fmla="*/ 1938 w 2941"/>
                <a:gd name="T9" fmla="*/ 343 h 799"/>
                <a:gd name="T10" fmla="*/ 2502 w 2941"/>
                <a:gd name="T11" fmla="*/ 0 h 799"/>
                <a:gd name="T12" fmla="*/ 2941 w 2941"/>
                <a:gd name="T13" fmla="*/ 52 h 799"/>
                <a:gd name="T14" fmla="*/ 2941 w 2941"/>
                <a:gd name="T15" fmla="*/ 124 h 799"/>
                <a:gd name="T16" fmla="*/ 2519 w 2941"/>
                <a:gd name="T17" fmla="*/ 74 h 799"/>
                <a:gd name="T18" fmla="*/ 1954 w 2941"/>
                <a:gd name="T19" fmla="*/ 417 h 799"/>
                <a:gd name="T20" fmla="*/ 1266 w 2941"/>
                <a:gd name="T21" fmla="*/ 348 h 799"/>
                <a:gd name="T22" fmla="*/ 706 w 2941"/>
                <a:gd name="T23" fmla="*/ 689 h 799"/>
                <a:gd name="T24" fmla="*/ 10 w 2941"/>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1" h="799">
                  <a:moveTo>
                    <a:pt x="10" y="799"/>
                  </a:moveTo>
                  <a:lnTo>
                    <a:pt x="0" y="728"/>
                  </a:lnTo>
                  <a:lnTo>
                    <a:pt x="681" y="620"/>
                  </a:lnTo>
                  <a:lnTo>
                    <a:pt x="1249" y="273"/>
                  </a:lnTo>
                  <a:lnTo>
                    <a:pt x="1938" y="343"/>
                  </a:lnTo>
                  <a:lnTo>
                    <a:pt x="2502" y="0"/>
                  </a:lnTo>
                  <a:lnTo>
                    <a:pt x="2941" y="52"/>
                  </a:lnTo>
                  <a:lnTo>
                    <a:pt x="2941" y="124"/>
                  </a:lnTo>
                  <a:lnTo>
                    <a:pt x="2519" y="74"/>
                  </a:lnTo>
                  <a:lnTo>
                    <a:pt x="1954" y="417"/>
                  </a:lnTo>
                  <a:lnTo>
                    <a:pt x="1266" y="348"/>
                  </a:lnTo>
                  <a:lnTo>
                    <a:pt x="706" y="689"/>
                  </a:lnTo>
                  <a:lnTo>
                    <a:pt x="10" y="799"/>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6011862" y="6174440"/>
              <a:ext cx="3492500" cy="81756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7610475" y="5779152"/>
              <a:ext cx="4816475" cy="121285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 name="Freeform 11"/>
            <p:cNvSpPr>
              <a:spLocks/>
            </p:cNvSpPr>
            <p:nvPr/>
          </p:nvSpPr>
          <p:spPr bwMode="auto">
            <a:xfrm>
              <a:off x="8942618" y="4872973"/>
              <a:ext cx="1002383" cy="916288"/>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 name="Freeform 12"/>
            <p:cNvSpPr>
              <a:spLocks/>
            </p:cNvSpPr>
            <p:nvPr/>
          </p:nvSpPr>
          <p:spPr bwMode="auto">
            <a:xfrm>
              <a:off x="9329534" y="5104969"/>
              <a:ext cx="845568" cy="679529"/>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13"/>
            <p:cNvSpPr>
              <a:spLocks/>
            </p:cNvSpPr>
            <p:nvPr/>
          </p:nvSpPr>
          <p:spPr bwMode="auto">
            <a:xfrm>
              <a:off x="8414782" y="4955842"/>
              <a:ext cx="914752" cy="1469751"/>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14"/>
            <p:cNvSpPr>
              <a:spLocks/>
            </p:cNvSpPr>
            <p:nvPr/>
          </p:nvSpPr>
          <p:spPr bwMode="auto">
            <a:xfrm>
              <a:off x="8677677" y="5435509"/>
              <a:ext cx="1566608" cy="1263740"/>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16"/>
            <p:cNvSpPr>
              <a:spLocks noChangeArrowheads="1"/>
            </p:cNvSpPr>
            <p:nvPr/>
          </p:nvSpPr>
          <p:spPr bwMode="auto">
            <a:xfrm>
              <a:off x="11640953" y="6081081"/>
              <a:ext cx="242888" cy="68040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6" name="Freeform 17"/>
            <p:cNvSpPr>
              <a:spLocks/>
            </p:cNvSpPr>
            <p:nvPr/>
          </p:nvSpPr>
          <p:spPr bwMode="auto">
            <a:xfrm>
              <a:off x="10766241" y="6190064"/>
              <a:ext cx="242888" cy="571424"/>
            </a:xfrm>
            <a:custGeom>
              <a:avLst/>
              <a:gdLst>
                <a:gd name="T0" fmla="*/ 0 w 153"/>
                <a:gd name="T1" fmla="*/ 0 h 388"/>
                <a:gd name="T2" fmla="*/ 0 w 153"/>
                <a:gd name="T3" fmla="*/ 79 h 388"/>
                <a:gd name="T4" fmla="*/ 0 w 153"/>
                <a:gd name="T5" fmla="*/ 388 h 388"/>
                <a:gd name="T6" fmla="*/ 153 w 153"/>
                <a:gd name="T7" fmla="*/ 388 h 388"/>
                <a:gd name="T8" fmla="*/ 153 w 153"/>
                <a:gd name="T9" fmla="*/ 18 h 388"/>
                <a:gd name="T10" fmla="*/ 153 w 153"/>
                <a:gd name="T11" fmla="*/ 0 h 388"/>
                <a:gd name="T12" fmla="*/ 0 w 153"/>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53" h="388">
                  <a:moveTo>
                    <a:pt x="0" y="0"/>
                  </a:moveTo>
                  <a:lnTo>
                    <a:pt x="0" y="79"/>
                  </a:lnTo>
                  <a:lnTo>
                    <a:pt x="0" y="388"/>
                  </a:lnTo>
                  <a:lnTo>
                    <a:pt x="153" y="388"/>
                  </a:lnTo>
                  <a:lnTo>
                    <a:pt x="153" y="18"/>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8"/>
            <p:cNvSpPr>
              <a:spLocks/>
            </p:cNvSpPr>
            <p:nvPr/>
          </p:nvSpPr>
          <p:spPr bwMode="auto">
            <a:xfrm>
              <a:off x="11058341" y="5645150"/>
              <a:ext cx="241300" cy="1116338"/>
            </a:xfrm>
            <a:custGeom>
              <a:avLst/>
              <a:gdLst>
                <a:gd name="T0" fmla="*/ 0 w 152"/>
                <a:gd name="T1" fmla="*/ 0 h 758"/>
                <a:gd name="T2" fmla="*/ 0 w 152"/>
                <a:gd name="T3" fmla="*/ 376 h 758"/>
                <a:gd name="T4" fmla="*/ 0 w 152"/>
                <a:gd name="T5" fmla="*/ 758 h 758"/>
                <a:gd name="T6" fmla="*/ 152 w 152"/>
                <a:gd name="T7" fmla="*/ 758 h 758"/>
                <a:gd name="T8" fmla="*/ 152 w 152"/>
                <a:gd name="T9" fmla="*/ 316 h 758"/>
                <a:gd name="T10" fmla="*/ 152 w 152"/>
                <a:gd name="T11" fmla="*/ 0 h 758"/>
                <a:gd name="T12" fmla="*/ 0 w 152"/>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2" h="758">
                  <a:moveTo>
                    <a:pt x="0" y="0"/>
                  </a:moveTo>
                  <a:lnTo>
                    <a:pt x="0" y="376"/>
                  </a:lnTo>
                  <a:lnTo>
                    <a:pt x="0" y="758"/>
                  </a:lnTo>
                  <a:lnTo>
                    <a:pt x="152" y="758"/>
                  </a:lnTo>
                  <a:lnTo>
                    <a:pt x="152" y="316"/>
                  </a:lnTo>
                  <a:lnTo>
                    <a:pt x="152"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9"/>
            <p:cNvSpPr>
              <a:spLocks/>
            </p:cNvSpPr>
            <p:nvPr/>
          </p:nvSpPr>
          <p:spPr bwMode="auto">
            <a:xfrm>
              <a:off x="11348853" y="5021588"/>
              <a:ext cx="242888" cy="1739900"/>
            </a:xfrm>
            <a:custGeom>
              <a:avLst/>
              <a:gdLst>
                <a:gd name="T0" fmla="*/ 0 w 153"/>
                <a:gd name="T1" fmla="*/ 0 h 1096"/>
                <a:gd name="T2" fmla="*/ 0 w 153"/>
                <a:gd name="T3" fmla="*/ 642 h 1096"/>
                <a:gd name="T4" fmla="*/ 0 w 153"/>
                <a:gd name="T5" fmla="*/ 1096 h 1096"/>
                <a:gd name="T6" fmla="*/ 153 w 153"/>
                <a:gd name="T7" fmla="*/ 1096 h 1096"/>
                <a:gd name="T8" fmla="*/ 153 w 153"/>
                <a:gd name="T9" fmla="*/ 581 h 1096"/>
                <a:gd name="T10" fmla="*/ 153 w 153"/>
                <a:gd name="T11" fmla="*/ 0 h 1096"/>
                <a:gd name="T12" fmla="*/ 0 w 153"/>
                <a:gd name="T13" fmla="*/ 0 h 1096"/>
              </a:gdLst>
              <a:ahLst/>
              <a:cxnLst>
                <a:cxn ang="0">
                  <a:pos x="T0" y="T1"/>
                </a:cxn>
                <a:cxn ang="0">
                  <a:pos x="T2" y="T3"/>
                </a:cxn>
                <a:cxn ang="0">
                  <a:pos x="T4" y="T5"/>
                </a:cxn>
                <a:cxn ang="0">
                  <a:pos x="T6" y="T7"/>
                </a:cxn>
                <a:cxn ang="0">
                  <a:pos x="T8" y="T9"/>
                </a:cxn>
                <a:cxn ang="0">
                  <a:pos x="T10" y="T11"/>
                </a:cxn>
                <a:cxn ang="0">
                  <a:pos x="T12" y="T13"/>
                </a:cxn>
              </a:cxnLst>
              <a:rect l="0" t="0" r="r" b="b"/>
              <a:pathLst>
                <a:path w="153" h="1096">
                  <a:moveTo>
                    <a:pt x="0" y="0"/>
                  </a:moveTo>
                  <a:lnTo>
                    <a:pt x="0" y="642"/>
                  </a:lnTo>
                  <a:lnTo>
                    <a:pt x="0" y="1096"/>
                  </a:lnTo>
                  <a:lnTo>
                    <a:pt x="153" y="1096"/>
                  </a:lnTo>
                  <a:lnTo>
                    <a:pt x="153" y="581"/>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 name="Freeform 20"/>
            <p:cNvSpPr>
              <a:spLocks/>
            </p:cNvSpPr>
            <p:nvPr/>
          </p:nvSpPr>
          <p:spPr bwMode="auto">
            <a:xfrm>
              <a:off x="11933053" y="5577213"/>
              <a:ext cx="242888" cy="1184275"/>
            </a:xfrm>
            <a:custGeom>
              <a:avLst/>
              <a:gdLst>
                <a:gd name="T0" fmla="*/ 0 w 153"/>
                <a:gd name="T1" fmla="*/ 0 h 746"/>
                <a:gd name="T2" fmla="*/ 0 w 153"/>
                <a:gd name="T3" fmla="*/ 147 h 746"/>
                <a:gd name="T4" fmla="*/ 0 w 153"/>
                <a:gd name="T5" fmla="*/ 746 h 746"/>
                <a:gd name="T6" fmla="*/ 153 w 153"/>
                <a:gd name="T7" fmla="*/ 746 h 746"/>
                <a:gd name="T8" fmla="*/ 153 w 153"/>
                <a:gd name="T9" fmla="*/ 87 h 746"/>
                <a:gd name="T10" fmla="*/ 153 w 153"/>
                <a:gd name="T11" fmla="*/ 0 h 746"/>
                <a:gd name="T12" fmla="*/ 0 w 153"/>
                <a:gd name="T13" fmla="*/ 0 h 746"/>
              </a:gdLst>
              <a:ahLst/>
              <a:cxnLst>
                <a:cxn ang="0">
                  <a:pos x="T0" y="T1"/>
                </a:cxn>
                <a:cxn ang="0">
                  <a:pos x="T2" y="T3"/>
                </a:cxn>
                <a:cxn ang="0">
                  <a:pos x="T4" y="T5"/>
                </a:cxn>
                <a:cxn ang="0">
                  <a:pos x="T6" y="T7"/>
                </a:cxn>
                <a:cxn ang="0">
                  <a:pos x="T8" y="T9"/>
                </a:cxn>
                <a:cxn ang="0">
                  <a:pos x="T10" y="T11"/>
                </a:cxn>
                <a:cxn ang="0">
                  <a:pos x="T12" y="T13"/>
                </a:cxn>
              </a:cxnLst>
              <a:rect l="0" t="0" r="r" b="b"/>
              <a:pathLst>
                <a:path w="153" h="746">
                  <a:moveTo>
                    <a:pt x="0" y="0"/>
                  </a:moveTo>
                  <a:lnTo>
                    <a:pt x="0" y="147"/>
                  </a:lnTo>
                  <a:lnTo>
                    <a:pt x="0" y="746"/>
                  </a:lnTo>
                  <a:lnTo>
                    <a:pt x="153" y="746"/>
                  </a:lnTo>
                  <a:lnTo>
                    <a:pt x="153" y="87"/>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21"/>
            <p:cNvSpPr>
              <a:spLocks/>
            </p:cNvSpPr>
            <p:nvPr/>
          </p:nvSpPr>
          <p:spPr bwMode="auto">
            <a:xfrm>
              <a:off x="10182041" y="6215100"/>
              <a:ext cx="242888" cy="546387"/>
            </a:xfrm>
            <a:custGeom>
              <a:avLst/>
              <a:gdLst>
                <a:gd name="T0" fmla="*/ 0 w 153"/>
                <a:gd name="T1" fmla="*/ 0 h 371"/>
                <a:gd name="T2" fmla="*/ 0 w 153"/>
                <a:gd name="T3" fmla="*/ 206 h 371"/>
                <a:gd name="T4" fmla="*/ 0 w 153"/>
                <a:gd name="T5" fmla="*/ 371 h 371"/>
                <a:gd name="T6" fmla="*/ 153 w 153"/>
                <a:gd name="T7" fmla="*/ 371 h 371"/>
                <a:gd name="T8" fmla="*/ 153 w 153"/>
                <a:gd name="T9" fmla="*/ 146 h 371"/>
                <a:gd name="T10" fmla="*/ 153 w 153"/>
                <a:gd name="T11" fmla="*/ 0 h 371"/>
                <a:gd name="T12" fmla="*/ 0 w 153"/>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153" h="371">
                  <a:moveTo>
                    <a:pt x="0" y="0"/>
                  </a:moveTo>
                  <a:lnTo>
                    <a:pt x="0" y="206"/>
                  </a:lnTo>
                  <a:lnTo>
                    <a:pt x="0" y="371"/>
                  </a:lnTo>
                  <a:lnTo>
                    <a:pt x="153" y="371"/>
                  </a:lnTo>
                  <a:lnTo>
                    <a:pt x="153" y="146"/>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22"/>
            <p:cNvSpPr>
              <a:spLocks/>
            </p:cNvSpPr>
            <p:nvPr/>
          </p:nvSpPr>
          <p:spPr bwMode="auto">
            <a:xfrm>
              <a:off x="10474141" y="5207326"/>
              <a:ext cx="242888" cy="1554162"/>
            </a:xfrm>
            <a:custGeom>
              <a:avLst/>
              <a:gdLst>
                <a:gd name="T0" fmla="*/ 0 w 153"/>
                <a:gd name="T1" fmla="*/ 0 h 979"/>
                <a:gd name="T2" fmla="*/ 0 w 153"/>
                <a:gd name="T3" fmla="*/ 742 h 979"/>
                <a:gd name="T4" fmla="*/ 0 w 153"/>
                <a:gd name="T5" fmla="*/ 979 h 979"/>
                <a:gd name="T6" fmla="*/ 153 w 153"/>
                <a:gd name="T7" fmla="*/ 979 h 979"/>
                <a:gd name="T8" fmla="*/ 153 w 153"/>
                <a:gd name="T9" fmla="*/ 682 h 979"/>
                <a:gd name="T10" fmla="*/ 153 w 153"/>
                <a:gd name="T11" fmla="*/ 0 h 979"/>
                <a:gd name="T12" fmla="*/ 0 w 153"/>
                <a:gd name="T13" fmla="*/ 0 h 979"/>
              </a:gdLst>
              <a:ahLst/>
              <a:cxnLst>
                <a:cxn ang="0">
                  <a:pos x="T0" y="T1"/>
                </a:cxn>
                <a:cxn ang="0">
                  <a:pos x="T2" y="T3"/>
                </a:cxn>
                <a:cxn ang="0">
                  <a:pos x="T4" y="T5"/>
                </a:cxn>
                <a:cxn ang="0">
                  <a:pos x="T6" y="T7"/>
                </a:cxn>
                <a:cxn ang="0">
                  <a:pos x="T8" y="T9"/>
                </a:cxn>
                <a:cxn ang="0">
                  <a:pos x="T10" y="T11"/>
                </a:cxn>
                <a:cxn ang="0">
                  <a:pos x="T12" y="T13"/>
                </a:cxn>
              </a:cxnLst>
              <a:rect l="0" t="0" r="r" b="b"/>
              <a:pathLst>
                <a:path w="153" h="979">
                  <a:moveTo>
                    <a:pt x="0" y="0"/>
                  </a:moveTo>
                  <a:lnTo>
                    <a:pt x="0" y="742"/>
                  </a:lnTo>
                  <a:lnTo>
                    <a:pt x="0" y="979"/>
                  </a:lnTo>
                  <a:lnTo>
                    <a:pt x="153" y="979"/>
                  </a:lnTo>
                  <a:lnTo>
                    <a:pt x="153" y="682"/>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23"/>
            <p:cNvSpPr>
              <a:spLocks noChangeArrowheads="1"/>
            </p:cNvSpPr>
            <p:nvPr/>
          </p:nvSpPr>
          <p:spPr bwMode="auto">
            <a:xfrm>
              <a:off x="7106349" y="6384925"/>
              <a:ext cx="493713" cy="1714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24"/>
            <p:cNvSpPr>
              <a:spLocks noChangeArrowheads="1"/>
            </p:cNvSpPr>
            <p:nvPr/>
          </p:nvSpPr>
          <p:spPr bwMode="auto">
            <a:xfrm>
              <a:off x="7106349" y="6556375"/>
              <a:ext cx="493713" cy="438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4" name="Rectangle 25"/>
            <p:cNvSpPr>
              <a:spLocks noChangeArrowheads="1"/>
            </p:cNvSpPr>
            <p:nvPr/>
          </p:nvSpPr>
          <p:spPr bwMode="auto">
            <a:xfrm>
              <a:off x="7685787" y="5645150"/>
              <a:ext cx="493713" cy="4905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26"/>
            <p:cNvSpPr>
              <a:spLocks noChangeArrowheads="1"/>
            </p:cNvSpPr>
            <p:nvPr/>
          </p:nvSpPr>
          <p:spPr bwMode="auto">
            <a:xfrm>
              <a:off x="7685787" y="6135687"/>
              <a:ext cx="493713" cy="8588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27"/>
            <p:cNvSpPr>
              <a:spLocks noChangeArrowheads="1"/>
            </p:cNvSpPr>
            <p:nvPr/>
          </p:nvSpPr>
          <p:spPr bwMode="auto">
            <a:xfrm>
              <a:off x="6477699" y="6283325"/>
              <a:ext cx="493713" cy="4937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28"/>
            <p:cNvSpPr>
              <a:spLocks noChangeArrowheads="1"/>
            </p:cNvSpPr>
            <p:nvPr/>
          </p:nvSpPr>
          <p:spPr bwMode="auto">
            <a:xfrm>
              <a:off x="6477699" y="6777037"/>
              <a:ext cx="493713" cy="2174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9634537" y="6364940"/>
              <a:ext cx="2792413" cy="62706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Slide Number Placeholder 10"/>
            <p:cNvSpPr txBox="1">
              <a:spLocks/>
            </p:cNvSpPr>
            <p:nvPr/>
          </p:nvSpPr>
          <p:spPr>
            <a:xfrm>
              <a:off x="11585763" y="6700981"/>
              <a:ext cx="566736" cy="137162"/>
            </a:xfrm>
            <a:prstGeom prst="rect">
              <a:avLst/>
            </a:prstGeom>
          </p:spPr>
          <p:txBody>
            <a:bodyPr vert="horz" lIns="89630" tIns="0" rIns="0" bIns="0" rtlCol="0" anchor="ctr"/>
            <a:lstStyle>
              <a:defPPr>
                <a:defRPr lang="en-US"/>
              </a:defPPr>
              <a:lvl1pPr marL="0" algn="r" defTabSz="932316" rtl="0" eaLnBrk="1" latinLnBrk="0" hangingPunct="1">
                <a:defRPr lang="en-US" sz="898" b="0" kern="1200" smtClean="0">
                  <a:solidFill>
                    <a:schemeClr val="tx2"/>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r" defTabSz="914347"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bwMode="auto">
          <a:xfrm>
            <a:off x="8447390" y="1683186"/>
            <a:ext cx="2688891" cy="2688892"/>
          </a:xfrm>
          <a:prstGeom prst="rect">
            <a:avLst/>
          </a:prstGeom>
          <a:solidFill>
            <a:srgbClr val="34103D"/>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1200" cap="none" spc="0" normalizeH="0" baseline="0" noProof="0" dirty="0">
                <a:ln>
                  <a:noFill/>
                </a:ln>
                <a:solidFill>
                  <a:prstClr val="white"/>
                </a:solidFill>
                <a:effectLst/>
                <a:uLnTx/>
                <a:uFillTx/>
                <a:latin typeface="Segoe UI Light"/>
                <a:ea typeface="+mn-ea"/>
                <a:cs typeface="+mn-cs"/>
              </a:rPr>
              <a:t>Redefine customer service</a:t>
            </a:r>
          </a:p>
        </p:txBody>
      </p:sp>
      <p:sp>
        <p:nvSpPr>
          <p:cNvPr id="31" name="Rectangle 30"/>
          <p:cNvSpPr/>
          <p:nvPr/>
        </p:nvSpPr>
        <p:spPr bwMode="auto">
          <a:xfrm>
            <a:off x="5768763" y="1683186"/>
            <a:ext cx="2688891" cy="2688892"/>
          </a:xfrm>
          <a:prstGeom prst="rect">
            <a:avLst/>
          </a:prstGeom>
          <a:solidFill>
            <a:srgbClr val="4E195C"/>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Open new business opportunities</a:t>
            </a:r>
          </a:p>
        </p:txBody>
      </p:sp>
      <p:sp>
        <p:nvSpPr>
          <p:cNvPr id="32" name="Rectangle 31"/>
          <p:cNvSpPr/>
          <p:nvPr/>
        </p:nvSpPr>
        <p:spPr bwMode="auto">
          <a:xfrm>
            <a:off x="3088398" y="1683186"/>
            <a:ext cx="2688891" cy="2688892"/>
          </a:xfrm>
          <a:prstGeom prst="rect">
            <a:avLst/>
          </a:prstGeom>
          <a:solidFill>
            <a:srgbClr val="68217A"/>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Build competitive edge</a:t>
            </a:r>
          </a:p>
        </p:txBody>
      </p:sp>
      <p:sp>
        <p:nvSpPr>
          <p:cNvPr id="33" name="Rectangle 32"/>
          <p:cNvSpPr/>
          <p:nvPr/>
        </p:nvSpPr>
        <p:spPr bwMode="auto">
          <a:xfrm>
            <a:off x="416311" y="1683186"/>
            <a:ext cx="2688891" cy="2688892"/>
          </a:xfrm>
          <a:prstGeom prst="rect">
            <a:avLst/>
          </a:prstGeom>
          <a:solidFill>
            <a:srgbClr val="B957D2"/>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Gain insight and agility</a:t>
            </a:r>
          </a:p>
        </p:txBody>
      </p:sp>
      <p:sp>
        <p:nvSpPr>
          <p:cNvPr id="3" name="Rectangle 2"/>
          <p:cNvSpPr/>
          <p:nvPr/>
        </p:nvSpPr>
        <p:spPr>
          <a:xfrm>
            <a:off x="864" y="1609250"/>
            <a:ext cx="415445" cy="29186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694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accel="50000" decel="50000" fill="hold" grpId="1" nodeType="withEffect">
                                  <p:stCondLst>
                                    <p:cond delay="20"/>
                                  </p:stCondLst>
                                  <p:childTnLst>
                                    <p:animMotion origin="layout" path="M -0.05234 4.81481E-6 L -1.04167E-6 4.81481E-6 " pathEditMode="relative" rAng="0" ptsTypes="AA">
                                      <p:cBhvr>
                                        <p:cTn id="9" dur="750" fill="hold"/>
                                        <p:tgtEl>
                                          <p:spTgt spid="33"/>
                                        </p:tgtEl>
                                        <p:attrNameLst>
                                          <p:attrName>ppt_x</p:attrName>
                                          <p:attrName>ppt_y</p:attrName>
                                        </p:attrNameLst>
                                      </p:cBhvr>
                                      <p:rCtr x="2617" y="0"/>
                                    </p:animMotion>
                                  </p:childTnLst>
                                </p:cTn>
                              </p:par>
                            </p:childTnLst>
                          </p:cTn>
                        </p:par>
                        <p:par>
                          <p:cTn id="10" fill="hold">
                            <p:stCondLst>
                              <p:cond delay="770"/>
                            </p:stCondLst>
                            <p:childTnLst>
                              <p:par>
                                <p:cTn id="11" presetID="10"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63" presetClass="path" presetSubtype="0" accel="50000" decel="50000" fill="hold" grpId="1" nodeType="withEffect">
                                  <p:stCondLst>
                                    <p:cond delay="20"/>
                                  </p:stCondLst>
                                  <p:childTnLst>
                                    <p:animMotion origin="layout" path="M -0.05234 4.81481E-6 L -1.66667E-6 4.81481E-6 " pathEditMode="relative" rAng="0" ptsTypes="AA">
                                      <p:cBhvr>
                                        <p:cTn id="15" dur="750" fill="hold"/>
                                        <p:tgtEl>
                                          <p:spTgt spid="32"/>
                                        </p:tgtEl>
                                        <p:attrNameLst>
                                          <p:attrName>ppt_x</p:attrName>
                                          <p:attrName>ppt_y</p:attrName>
                                        </p:attrNameLst>
                                      </p:cBhvr>
                                      <p:rCtr x="2617" y="0"/>
                                    </p:animMotion>
                                  </p:childTnLst>
                                </p:cTn>
                              </p:par>
                            </p:childTnLst>
                          </p:cTn>
                        </p:par>
                        <p:par>
                          <p:cTn id="16" fill="hold">
                            <p:stCondLst>
                              <p:cond delay="154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63" presetClass="path" presetSubtype="0" accel="50000" decel="50000" fill="hold" grpId="1" nodeType="withEffect">
                                  <p:stCondLst>
                                    <p:cond delay="20"/>
                                  </p:stCondLst>
                                  <p:childTnLst>
                                    <p:animMotion origin="layout" path="M -0.05234 4.81481E-6 L -3.54167E-6 4.81481E-6 " pathEditMode="relative" rAng="0" ptsTypes="AA">
                                      <p:cBhvr>
                                        <p:cTn id="21" dur="750" fill="hold"/>
                                        <p:tgtEl>
                                          <p:spTgt spid="31"/>
                                        </p:tgtEl>
                                        <p:attrNameLst>
                                          <p:attrName>ppt_x</p:attrName>
                                          <p:attrName>ppt_y</p:attrName>
                                        </p:attrNameLst>
                                      </p:cBhvr>
                                      <p:rCtr x="2617" y="0"/>
                                    </p:animMotion>
                                  </p:childTnLst>
                                </p:cTn>
                              </p:par>
                            </p:childTnLst>
                          </p:cTn>
                        </p:par>
                        <p:par>
                          <p:cTn id="22" fill="hold">
                            <p:stCondLst>
                              <p:cond delay="231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63" presetClass="path" presetSubtype="0" accel="50000" decel="50000" fill="hold" grpId="1" nodeType="withEffect">
                                  <p:stCondLst>
                                    <p:cond delay="20"/>
                                  </p:stCondLst>
                                  <p:childTnLst>
                                    <p:animMotion origin="layout" path="M -0.05234 4.81481E-6 L 5E-6 4.81481E-6 " pathEditMode="relative" rAng="0" ptsTypes="AA">
                                      <p:cBhvr>
                                        <p:cTn id="27" dur="750" fill="hold"/>
                                        <p:tgtEl>
                                          <p:spTgt spid="30"/>
                                        </p:tgtEl>
                                        <p:attrNameLst>
                                          <p:attrName>ppt_x</p:attrName>
                                          <p:attrName>ppt_y</p:attrName>
                                        </p:attrNameLst>
                                      </p:cBhvr>
                                      <p:rCtr x="26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32" grpId="0" animBg="1"/>
      <p:bldP spid="32" grpId="1" animBg="1"/>
      <p:bldP spid="33" grpId="0" animBg="1"/>
      <p:bldP spid="3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25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25" name="Oval 24"/>
          <p:cNvSpPr/>
          <p:nvPr/>
        </p:nvSpPr>
        <p:spPr bwMode="auto">
          <a:xfrm>
            <a:off x="2420700" y="1598533"/>
            <a:ext cx="7352158" cy="4293518"/>
          </a:xfrm>
          <a:prstGeom prst="ellipse">
            <a:avLst/>
          </a:prstGeom>
          <a:solidFill>
            <a:srgbClr val="44215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60" name="Freeform 9"/>
          <p:cNvSpPr>
            <a:spLocks/>
          </p:cNvSpPr>
          <p:nvPr/>
        </p:nvSpPr>
        <p:spPr bwMode="auto">
          <a:xfrm>
            <a:off x="4629973" y="3220189"/>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3"/>
          <p:cNvSpPr>
            <a:spLocks/>
          </p:cNvSpPr>
          <p:nvPr/>
        </p:nvSpPr>
        <p:spPr bwMode="auto">
          <a:xfrm>
            <a:off x="5420570" y="2221049"/>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3433184" y="2705057"/>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Queuing System</a:t>
              </a: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a:t>
            </a: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ub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87"/>
          <p:cNvSpPr>
            <a:spLocks noChangeAspect="1" noEditPoints="1"/>
          </p:cNvSpPr>
          <p:nvPr/>
        </p:nvSpPr>
        <p:spPr bwMode="black">
          <a:xfrm flipH="1">
            <a:off x="6349719" y="5349653"/>
            <a:ext cx="806782" cy="65634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442157"/>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p:cNvSpPr txBox="1"/>
          <p:nvPr/>
        </p:nvSpPr>
        <p:spPr>
          <a:xfrm>
            <a:off x="7215511" y="5508071"/>
            <a:ext cx="67473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torage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adapters</a:t>
            </a:r>
          </a:p>
        </p:txBody>
      </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7FBA00"/>
                </a:solidFill>
                <a:effectLst/>
                <a:uLnTx/>
                <a:uFillTx/>
                <a:latin typeface="Segoe UI"/>
                <a:ea typeface="+mn-ea"/>
                <a:cs typeface="+mn-cs"/>
              </a:rPr>
              <a:t>Stream </a:t>
            </a:r>
            <a:br>
              <a:rPr kumimoji="0" lang="en-US" sz="1372" b="1" i="0" u="none" strike="noStrike" kern="1200" cap="none" spc="0" normalizeH="0" baseline="0" noProof="0" dirty="0">
                <a:ln>
                  <a:noFill/>
                </a:ln>
                <a:solidFill>
                  <a:srgbClr val="7FBA00"/>
                </a:solidFill>
                <a:effectLst/>
                <a:uLnTx/>
                <a:uFillTx/>
                <a:latin typeface="Segoe UI"/>
                <a:ea typeface="+mn-ea"/>
                <a:cs typeface="+mn-cs"/>
              </a:rPr>
            </a:br>
            <a:r>
              <a:rPr kumimoji="0" lang="en-US" sz="1372" b="1" i="0" u="none" strike="noStrike" kern="1200" cap="none" spc="0" normalizeH="0" baseline="0" noProof="0" dirty="0">
                <a:ln>
                  <a:noFill/>
                </a:ln>
                <a:solidFill>
                  <a:srgbClr val="7FBA00"/>
                </a:solidFill>
                <a:effectLst/>
                <a:uLnTx/>
                <a:uFillTx/>
                <a:latin typeface="Segoe UI"/>
                <a:ea typeface="+mn-ea"/>
                <a:cs typeface="+mn-cs"/>
              </a:rPr>
              <a:t>processing</a:t>
            </a:r>
          </a:p>
        </p:txBody>
      </p:sp>
      <p:sp>
        <p:nvSpPr>
          <p:cNvPr id="181" name="TextBox 180"/>
          <p:cNvSpPr txBox="1"/>
          <p:nvPr/>
        </p:nvSpPr>
        <p:spPr>
          <a:xfrm>
            <a:off x="2588639" y="3714423"/>
            <a:ext cx="1226554"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Cloud gateway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web APIs)</a:t>
            </a:r>
          </a:p>
        </p:txBody>
      </p:sp>
      <p:sp>
        <p:nvSpPr>
          <p:cNvPr id="194" name="Freeform 30"/>
          <p:cNvSpPr>
            <a:spLocks noChangeAspect="1" noEditPoints="1"/>
          </p:cNvSpPr>
          <p:nvPr/>
        </p:nvSpPr>
        <p:spPr bwMode="auto">
          <a:xfrm>
            <a:off x="2528413" y="2933904"/>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TextBox 184"/>
          <p:cNvSpPr txBox="1"/>
          <p:nvPr/>
        </p:nvSpPr>
        <p:spPr>
          <a:xfrm>
            <a:off x="3148042" y="5434173"/>
            <a:ext cx="72000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eld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gateways</a:t>
            </a:r>
          </a:p>
        </p:txBody>
      </p:sp>
      <p:sp>
        <p:nvSpPr>
          <p:cNvPr id="196" name="Freeform 58"/>
          <p:cNvSpPr>
            <a:spLocks noChangeAspect="1" noEditPoints="1"/>
          </p:cNvSpPr>
          <p:nvPr/>
        </p:nvSpPr>
        <p:spPr bwMode="black">
          <a:xfrm>
            <a:off x="2420700" y="5280693"/>
            <a:ext cx="641093" cy="6871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685566" y="1754914"/>
            <a:ext cx="960199" cy="970385"/>
            <a:chOff x="699313" y="2289942"/>
            <a:chExt cx="979453" cy="989843"/>
          </a:xfrm>
          <a:solidFill>
            <a:srgbClr val="A6A6A6"/>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TextBox 202"/>
            <p:cNvSpPr txBox="1"/>
            <p:nvPr/>
          </p:nvSpPr>
          <p:spPr>
            <a:xfrm>
              <a:off x="699313" y="3085922"/>
              <a:ext cx="979453" cy="193863"/>
            </a:xfrm>
            <a:prstGeom prst="rect">
              <a:avLst/>
            </a:prstGeom>
            <a:grp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2157"/>
          </a:solidFill>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Web/thick client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dashboards</a:t>
            </a:r>
          </a:p>
        </p:txBody>
      </p:sp>
      <p:sp>
        <p:nvSpPr>
          <p:cNvPr id="219" name="Right Arrow 218"/>
          <p:cNvSpPr/>
          <p:nvPr/>
        </p:nvSpPr>
        <p:spPr bwMode="auto">
          <a:xfrm>
            <a:off x="7916635" y="4533359"/>
            <a:ext cx="2210170" cy="627498"/>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ive Dashboards</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pache Storm on </a:t>
            </a:r>
            <a:b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Insight</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evices to take action</a:t>
            </a:r>
          </a:p>
        </p:txBody>
      </p:sp>
      <p:sp>
        <p:nvSpPr>
          <p:cNvPr id="76" name="Oval 75"/>
          <p:cNvSpPr/>
          <p:nvPr/>
        </p:nvSpPr>
        <p:spPr bwMode="auto">
          <a:xfrm>
            <a:off x="4273125" y="1938348"/>
            <a:ext cx="1508760" cy="1507080"/>
          </a:xfrm>
          <a:prstGeom prst="ellipse">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Kafka</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smtClean="0">
                <a:ln>
                  <a:noFill/>
                </a:ln>
                <a:solidFill>
                  <a:srgbClr val="FFFFFF"/>
                </a:solidFill>
                <a:effectLst/>
                <a:uLnTx/>
                <a:uFillTx/>
                <a:latin typeface="Segoe UI"/>
                <a:ea typeface="+mn-ea"/>
                <a:cs typeface="+mn-cs"/>
              </a:rPr>
              <a:t>RabbitMQ</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a:ln>
                  <a:noFill/>
                </a:ln>
                <a:solidFill>
                  <a:srgbClr val="FFFFFF"/>
                </a:solidFill>
                <a:effectLst/>
                <a:uLnTx/>
                <a:uFillTx/>
                <a:latin typeface="Segoe UI"/>
                <a:ea typeface="+mn-ea"/>
                <a:cs typeface="+mn-cs"/>
              </a:rPr>
              <a:t>ActiveMQ</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Web and Social</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solidFill>
                <a:effectLst/>
                <a:uLnTx/>
                <a:uFillTx/>
                <a:latin typeface="Segoe Light" pitchFamily="34" charset="0"/>
                <a:ea typeface="+mn-ea"/>
                <a:cs typeface="+mn-cs"/>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l" defTabSz="776927"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Oval 94"/>
          <p:cNvSpPr/>
          <p:nvPr/>
        </p:nvSpPr>
        <p:spPr bwMode="auto">
          <a:xfrm>
            <a:off x="6296805" y="3559540"/>
            <a:ext cx="1508760" cy="150876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ream Analytic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215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Base</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8046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lena’s innovation slide</a:t>
            </a:r>
            <a:br>
              <a:rPr lang="en-GB" dirty="0" smtClean="0"/>
            </a:br>
            <a:endParaRPr lang="en-GB" dirty="0"/>
          </a:p>
        </p:txBody>
      </p:sp>
    </p:spTree>
    <p:extLst>
      <p:ext uri="{BB962C8B-B14F-4D97-AF65-F5344CB8AC3E}">
        <p14:creationId xmlns:p14="http://schemas.microsoft.com/office/powerpoint/2010/main" val="31412261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498" y="-132362"/>
            <a:ext cx="13358377" cy="7122727"/>
          </a:xfrm>
          <a:prstGeom prst="rect">
            <a:avLst/>
          </a:prstGeom>
        </p:spPr>
      </p:pic>
      <p:sp>
        <p:nvSpPr>
          <p:cNvPr id="2" name="Title 1"/>
          <p:cNvSpPr>
            <a:spLocks noGrp="1"/>
          </p:cNvSpPr>
          <p:nvPr>
            <p:ph type="title"/>
          </p:nvPr>
        </p:nvSpPr>
        <p:spPr>
          <a:xfrm>
            <a:off x="5980599" y="503214"/>
            <a:ext cx="6123105" cy="5749746"/>
          </a:xfrm>
        </p:spPr>
        <p:txBody>
          <a:bodyPr/>
          <a:lstStyle/>
          <a:p>
            <a:r>
              <a:rPr lang="en-US" sz="3527" dirty="0">
                <a:solidFill>
                  <a:schemeClr val="bg1"/>
                </a:solidFill>
              </a:rPr>
              <a:t>I believe over the next decade computing will become even more ubiquitous and </a:t>
            </a:r>
            <a:r>
              <a:rPr lang="en-US" sz="3527" dirty="0">
                <a:solidFill>
                  <a:srgbClr val="BAD80A"/>
                </a:solidFill>
              </a:rPr>
              <a:t>intelligence will become ambient</a:t>
            </a:r>
            <a:r>
              <a:rPr lang="en-US" sz="3527" dirty="0">
                <a:solidFill>
                  <a:schemeClr val="bg1"/>
                </a:solidFill>
              </a:rPr>
              <a:t>...This will be made possible by an ever-growing network of connected devices, incredible computing capacity from the cloud, insights from big data, and</a:t>
            </a:r>
            <a:r>
              <a:rPr lang="en-US" sz="3527" dirty="0"/>
              <a:t> </a:t>
            </a:r>
            <a:r>
              <a:rPr lang="en-US" sz="3527" dirty="0">
                <a:solidFill>
                  <a:srgbClr val="BAD80A"/>
                </a:solidFill>
              </a:rPr>
              <a:t>intelligence from machine learning</a:t>
            </a:r>
            <a:r>
              <a:rPr lang="en-US" sz="3527" dirty="0"/>
              <a:t>.</a:t>
            </a:r>
          </a:p>
        </p:txBody>
      </p:sp>
    </p:spTree>
    <p:extLst>
      <p:ext uri="{BB962C8B-B14F-4D97-AF65-F5344CB8AC3E}">
        <p14:creationId xmlns:p14="http://schemas.microsoft.com/office/powerpoint/2010/main" val="22353061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7.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4172</TotalTime>
  <Words>1796</Words>
  <Application>Microsoft Office PowerPoint</Application>
  <PresentationFormat>Widescreen</PresentationFormat>
  <Paragraphs>209</Paragraphs>
  <Slides>28</Slides>
  <Notes>18</Notes>
  <HiddenSlides>1</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53" baseType="lpstr">
      <vt:lpstr>Arial</vt:lpstr>
      <vt:lpstr>Avenir LT Pro 45 Book</vt:lpstr>
      <vt:lpstr>Calibri</vt:lpstr>
      <vt:lpstr>Calibri Light</vt:lpstr>
      <vt:lpstr>Consolas</vt:lpstr>
      <vt:lpstr>Courier New</vt:lpstr>
      <vt:lpstr>ＭＳ Ｐゴシック</vt:lpstr>
      <vt:lpstr>ＭＳ Ｐゴシック</vt:lpstr>
      <vt:lpstr>Segoe</vt:lpstr>
      <vt:lpstr>Segoe Light</vt:lpstr>
      <vt:lpstr>Segoe UI</vt:lpstr>
      <vt:lpstr>Segoe UI Light</vt:lpstr>
      <vt:lpstr>Segoe UI Semibold</vt:lpstr>
      <vt:lpstr>Symbol</vt:lpstr>
      <vt:lpstr>Tahoma</vt:lpstr>
      <vt:lpstr>Times New Roman</vt:lpstr>
      <vt:lpstr>Wingdings</vt:lpstr>
      <vt:lpstr>SQL Server 14_DRAFT_04222013_ab</vt:lpstr>
      <vt:lpstr>5_5-30536_Build_2014_Breakout_Template_White_16x9</vt:lpstr>
      <vt:lpstr>3-30410_WPC_Breakout_Template_16x9</vt:lpstr>
      <vt:lpstr>1_Office Theme</vt:lpstr>
      <vt:lpstr>STB Conversations 2013</vt:lpstr>
      <vt:lpstr>TEE14 Speaker PPT Template</vt:lpstr>
      <vt:lpstr>1_3-30410_WPC_Breakout_Template_16x9</vt:lpstr>
      <vt:lpstr>think-cell Slide</vt:lpstr>
      <vt:lpstr>Internet of Things Track </vt:lpstr>
      <vt:lpstr>The Internet of Things</vt:lpstr>
      <vt:lpstr>An example of the Internet of Things</vt:lpstr>
      <vt:lpstr>Why Now ?</vt:lpstr>
      <vt:lpstr>Why Businesses Need IoT Now</vt:lpstr>
      <vt:lpstr>Microsoft’s view</vt:lpstr>
      <vt:lpstr> </vt:lpstr>
      <vt:lpstr>Elena’s innovation slide </vt:lpstr>
      <vt:lpstr>I believe over the next decade computing will become even more ubiquitous and intelligence will become ambient...This will be made possible by an ever-growing network of connected devices, incredible computing capacity from the cloud, insights from big data, and intelligence from machine learning.</vt:lpstr>
      <vt:lpstr>Blinky and the Cloud Connecting your devices to the cloud</vt:lpstr>
      <vt:lpstr>PowerPoint Presentation</vt:lpstr>
      <vt:lpstr>PowerPoint Presentation</vt:lpstr>
      <vt:lpstr>PowerPoint Presentation</vt:lpstr>
      <vt:lpstr>Blinky and the Cloud: Architecture</vt:lpstr>
      <vt:lpstr>DEMO – Blinky and the Cloud</vt:lpstr>
      <vt:lpstr>Azure Stream Analytics Processing data in the cloud in real time using an Azure Service</vt:lpstr>
      <vt:lpstr>Azure Stream Analytics: Components</vt:lpstr>
      <vt:lpstr>PowerPoint Presentation</vt:lpstr>
      <vt:lpstr>PowerPoint Presentation</vt:lpstr>
      <vt:lpstr>PowerPoint Presentation</vt:lpstr>
      <vt:lpstr>Azure Stream Analytics: Architecture</vt:lpstr>
      <vt:lpstr>DEMO – Azure Stream Analytics</vt:lpstr>
      <vt:lpstr>Storm on Azure &lt;enter brief explanation here&gt;</vt:lpstr>
      <vt:lpstr>Storm on Azure: Architecture</vt:lpstr>
      <vt:lpstr>Allans slides here</vt:lpstr>
      <vt:lpstr>DEMO – Storm on Azure</vt:lpstr>
      <vt:lpstr>What's Next? Grab lunch, then its your turn!</vt:lpstr>
      <vt:lpstr>Where to find resources and kits and logistic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37</cp:revision>
  <dcterms:created xsi:type="dcterms:W3CDTF">2015-09-18T13:05:27Z</dcterms:created>
  <dcterms:modified xsi:type="dcterms:W3CDTF">2015-09-21T10:37:48Z</dcterms:modified>
</cp:coreProperties>
</file>